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4" r:id="rId1"/>
    <p:sldMasterId id="2147483648" r:id="rId2"/>
    <p:sldMasterId id="2147483675" r:id="rId3"/>
    <p:sldMasterId id="2147483702" r:id="rId4"/>
    <p:sldMasterId id="2147483769" r:id="rId5"/>
    <p:sldMasterId id="2147483786" r:id="rId6"/>
    <p:sldMasterId id="2147483801" r:id="rId7"/>
  </p:sldMasterIdLst>
  <p:notesMasterIdLst>
    <p:notesMasterId r:id="rId15"/>
  </p:notesMasterIdLst>
  <p:handoutMasterIdLst>
    <p:handoutMasterId r:id="rId16"/>
  </p:handoutMasterIdLst>
  <p:sldIdLst>
    <p:sldId id="273" r:id="rId8"/>
    <p:sldId id="2145707016" r:id="rId9"/>
    <p:sldId id="2145707037" r:id="rId10"/>
    <p:sldId id="2145707038" r:id="rId11"/>
    <p:sldId id="2145707039" r:id="rId12"/>
    <p:sldId id="2145707040" r:id="rId13"/>
    <p:sldId id="279" r:id="rId14"/>
  </p:sldIdLst>
  <p:sldSz cx="12192000" cy="6858000"/>
  <p:notesSz cx="7102475" cy="938847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6" name="Author" initials="A" lastIdx="0" clrIdx="1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092B18-D5C2-4EEE-8538-DF768D66549E}" v="12" dt="2023-02-09T00:06:51.6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0" d="100"/>
          <a:sy n="100" d="100"/>
        </p:scale>
        <p:origin x="270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F747CF-9868-4300-ADC4-3CA1C83E1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01B982-4C24-4B9F-90AF-B271C8CD70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78CA8A19-F2F0-4092-ACEC-59F870C6B9E6}" type="datetimeFigureOut">
              <a:rPr lang="en-GB" smtClean="0"/>
              <a:t>07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A5121C-E136-4809-872A-AADC4CFAE0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1041DB-BB4F-49F3-A843-CC27BB698C7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86B21D43-B77A-4F53-9368-56B938568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2271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4453CFDC-DBA7-4CC9-92F1-656DDA8436F9}" type="datetimeFigureOut">
              <a:rPr lang="en-GB" smtClean="0"/>
              <a:t>07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79EC15A3-D7C0-475F-8663-8998E8BACE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401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C15A3-D7C0-475F-8663-8998E8BACE5B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1262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C15A3-D7C0-475F-8663-8998E8BACE5B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544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C15A3-D7C0-475F-8663-8998E8BACE5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1453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EC15A3-D7C0-475F-8663-8998E8BACE5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134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A - Black 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4C98DD9E-C57A-5E8E-95B1-693E470589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93F8CB-3A1C-F190-F7C8-DFA32005F4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440000"/>
            <a:ext cx="5400000" cy="2520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1633801"/>
            <a:ext cx="4367938" cy="9971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DAB893-EB02-4098-9292-09391239F6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716518"/>
            <a:ext cx="4367938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E2D8E119-56D7-8FD5-EA65-B3B60BD8F565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45298" y="6021419"/>
            <a:ext cx="2880000" cy="70055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F6B57791-0658-84EA-483A-88F3B76D5A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90459" y="5359179"/>
            <a:ext cx="1166579" cy="1498821"/>
          </a:xfrm>
          <a:prstGeom prst="rect">
            <a:avLst/>
          </a:prstGeom>
          <a:solidFill>
            <a:schemeClr val="tx2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39AD5250-5F84-AABE-0D40-94269555D7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15200" y="5605200"/>
            <a:ext cx="720000" cy="972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2595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61" userDrawn="1">
          <p15:clr>
            <a:srgbClr val="FBAE40"/>
          </p15:clr>
        </p15:guide>
        <p15:guide id="2" orient="horz" pos="1706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3205" userDrawn="1">
          <p15:clr>
            <a:srgbClr val="FBAE40"/>
          </p15:clr>
        </p15:guide>
        <p15:guide id="5" pos="549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7"/>
          <a:stretch/>
        </p:blipFill>
        <p:spPr>
          <a:xfrm>
            <a:off x="6481762" y="1697151"/>
            <a:ext cx="5707189" cy="44722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1B79F3A-2055-4125-974A-2A21F70657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40000" y="1047150"/>
            <a:ext cx="4704300" cy="1530000"/>
          </a:xfrm>
        </p:spPr>
        <p:txBody>
          <a:bodyPr anchor="b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E3E8D6F-A55D-4F92-8404-86D5E88BF3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40000" y="2947950"/>
            <a:ext cx="4704300" cy="941425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FD6532-313D-4787-A679-05B4DFD43B61}"/>
              </a:ext>
            </a:extLst>
          </p:cNvPr>
          <p:cNvSpPr/>
          <p:nvPr userDrawn="1"/>
        </p:nvSpPr>
        <p:spPr>
          <a:xfrm>
            <a:off x="0" y="0"/>
            <a:ext cx="6480000" cy="6858000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471491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ighlight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0938" y="0"/>
            <a:ext cx="4691062" cy="6858001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3AEE85D-3E6C-19E4-AA87-4014B2F1333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828005" y="1628776"/>
            <a:ext cx="3646445" cy="44894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7E9DC8D-C4FF-2DC8-D3AC-E966236F0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620212-BC66-F5A3-2F5F-E9E695B6C6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A0914F-AA81-1D04-83A7-B9340FFC5F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527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0CB5498-4B9B-0538-B725-6EC270716F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C7C2C7-91DB-03AE-314C-A2FA80FF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A6D6A4-3630-DB65-AB04-7BF2C82C364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4A0447-2E7B-0757-3F32-6BFE572BB7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404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229475" y="0"/>
            <a:ext cx="49625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0DE0D6-F9EE-AC59-A81E-744256C6A67C}"/>
              </a:ext>
            </a:extLst>
          </p:cNvPr>
          <p:cNvSpPr/>
          <p:nvPr userDrawn="1"/>
        </p:nvSpPr>
        <p:spPr>
          <a:xfrm>
            <a:off x="0" y="0"/>
            <a:ext cx="5916613" cy="1594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0000" y="2176378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1" y="0"/>
            <a:ext cx="108000" cy="27432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EBE34724-EDF1-3058-CEF3-FA28FC8DBB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B3E7C1-9B58-D1C9-DBB5-7EF628CFFA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C2094D-0D26-BAA9-31B3-FD10A98F8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999" y="1092444"/>
            <a:ext cx="4836613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003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496252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0769" y="2538777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875C6-4468-ED5D-851F-96AC8BEE7B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74800" y="6480000"/>
            <a:ext cx="48348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4483" y="1089025"/>
            <a:ext cx="3321989" cy="10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DC8FA5-E1F4-4383-1760-0CE7F79D6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0769" y="1449388"/>
            <a:ext cx="4566832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20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86A6510-F2BB-03C8-B464-7D75C127D8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166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5916613" cy="3429000"/>
          </a:xfrm>
          <a:prstGeom prst="rect">
            <a:avLst/>
          </a:prstGeom>
          <a:solidFill>
            <a:srgbClr val="007A5F">
              <a:alpha val="90000"/>
            </a:srgb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D52D1D-FAD3-5FCE-4D33-6FC96E8CE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0000" y="1080000"/>
            <a:ext cx="4320000" cy="1461939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39EC09-F8E8-0145-EA7C-09864D035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0"/>
            <a:ext cx="108000" cy="2519363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8" y="1628776"/>
            <a:ext cx="5196611" cy="4489450"/>
          </a:xfrm>
          <a:prstGeom prst="rect">
            <a:avLst/>
          </a:prstGeom>
        </p:spPr>
        <p:txBody>
          <a:bodyPr/>
          <a:lstStyle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074E42-12F2-5043-E09B-B83129388FD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BB3D09-0939-1E5A-0D08-094BEF4107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0FFD13-5869-4A6E-DBFF-93BE803E3CCB}"/>
              </a:ext>
            </a:extLst>
          </p:cNvPr>
          <p:cNvSpPr txBox="1"/>
          <p:nvPr userDrawn="1"/>
        </p:nvSpPr>
        <p:spPr>
          <a:xfrm>
            <a:off x="717550" y="6480000"/>
            <a:ext cx="71269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7B23B69-7424-172D-1B61-ABADF08919A3}"/>
              </a:ext>
            </a:extLst>
          </p:cNvPr>
          <p:cNvSpPr txBox="1">
            <a:spLocks/>
          </p:cNvSpPr>
          <p:nvPr userDrawn="1"/>
        </p:nvSpPr>
        <p:spPr>
          <a:xfrm>
            <a:off x="717550" y="6656472"/>
            <a:ext cx="712694" cy="20152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448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AC7E34-E6CF-4BB2-A303-B74484921E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56000" y="6462001"/>
            <a:ext cx="2142485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EDEB95-E8B8-422B-AF25-0A8952F41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0000" y="6462001"/>
            <a:ext cx="7056000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364E44-7DF0-4B45-B1A1-18E82552A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62001"/>
            <a:ext cx="342898" cy="25549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C93810-B908-41EF-AB03-193E6739D848}"/>
              </a:ext>
            </a:extLst>
          </p:cNvPr>
          <p:cNvSpPr txBox="1"/>
          <p:nvPr userDrawn="1"/>
        </p:nvSpPr>
        <p:spPr>
          <a:xfrm>
            <a:off x="720000" y="6462000"/>
            <a:ext cx="712694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/>
              <a:t>www.erm.com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C8A9039-1FE4-44BB-9217-67838D51C952}"/>
              </a:ext>
            </a:extLst>
          </p:cNvPr>
          <p:cNvSpPr/>
          <p:nvPr userDrawn="1"/>
        </p:nvSpPr>
        <p:spPr>
          <a:xfrm>
            <a:off x="647698" y="6411600"/>
            <a:ext cx="10896600" cy="144000"/>
          </a:xfrm>
          <a:custGeom>
            <a:avLst/>
            <a:gdLst>
              <a:gd name="connsiteX0" fmla="*/ 0 w 10905565"/>
              <a:gd name="connsiteY0" fmla="*/ 376518 h 376518"/>
              <a:gd name="connsiteX1" fmla="*/ 0 w 10905565"/>
              <a:gd name="connsiteY1" fmla="*/ 0 h 376518"/>
              <a:gd name="connsiteX2" fmla="*/ 10905565 w 10905565"/>
              <a:gd name="connsiteY2" fmla="*/ 0 h 37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565" h="376518">
                <a:moveTo>
                  <a:pt x="0" y="376518"/>
                </a:moveTo>
                <a:lnTo>
                  <a:pt x="0" y="0"/>
                </a:lnTo>
                <a:lnTo>
                  <a:pt x="10905565" y="0"/>
                </a:lnTo>
              </a:path>
            </a:pathLst>
          </a:cu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94178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D15CF-6922-4E9F-9BF9-215BEC21F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FC8477-7EFF-4B72-914E-3F5AD3C3B8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56000" y="6462001"/>
            <a:ext cx="2142485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0B407F-0B21-471D-9D94-5B948A7E7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0000" y="6462001"/>
            <a:ext cx="7056000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3E5C0-A919-43DA-B5DA-A83751EC5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62001"/>
            <a:ext cx="342898" cy="25549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2182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701" y="1798639"/>
            <a:ext cx="5340349" cy="43195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798637"/>
            <a:ext cx="5340350" cy="43195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E3602-3934-40B7-9E07-AFA752DD5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9FA87A-D865-4A2D-B4E7-4C67B3AAC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EDC9C7-182D-4954-93B8-49D2E1FCC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206967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ADED0-5494-4E9A-94F7-6B260B14F3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581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4BF11E-1009-E0F0-E9D2-7C89197902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3362E4-C93A-F3CD-07BD-1B25A06A20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CA02A4-0CBD-BD57-C772-96B0156F6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5CBF3-F443-45AA-9678-0993A9363453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513B2B-5A88-005C-13B2-F317172DB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360E8-B8D1-8C18-B8FA-6763FCBA8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6AC617-2E50-4523-B02E-4632B33A7B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6510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E 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55" y="0"/>
            <a:ext cx="11364533" cy="69342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0000" y="1606550"/>
            <a:ext cx="4704300" cy="1700650"/>
          </a:xfrm>
        </p:spPr>
        <p:txBody>
          <a:bodyPr anchor="b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6480000" cy="693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7544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273CDE-E03E-4A95-98D9-8327D17C3F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A2DD1F-C590-49CD-8EC3-66B915D84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A642CD-41E3-4C2B-BB30-5A8140B1A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eeform: Shape 9">
            <a:extLst>
              <a:ext uri="{FF2B5EF4-FFF2-40B4-BE49-F238E27FC236}">
                <a16:creationId xmlns:a16="http://schemas.microsoft.com/office/drawing/2014/main" id="{0C1AEFF4-DEEB-4676-BE49-5C79B8F36001}"/>
              </a:ext>
            </a:extLst>
          </p:cNvPr>
          <p:cNvSpPr/>
          <p:nvPr userDrawn="1"/>
        </p:nvSpPr>
        <p:spPr>
          <a:xfrm>
            <a:off x="647699" y="288000"/>
            <a:ext cx="10896600" cy="1152000"/>
          </a:xfrm>
          <a:custGeom>
            <a:avLst/>
            <a:gdLst>
              <a:gd name="connsiteX0" fmla="*/ 0 w 10905565"/>
              <a:gd name="connsiteY0" fmla="*/ 376518 h 376518"/>
              <a:gd name="connsiteX1" fmla="*/ 0 w 10905565"/>
              <a:gd name="connsiteY1" fmla="*/ 0 h 376518"/>
              <a:gd name="connsiteX2" fmla="*/ 10905565 w 10905565"/>
              <a:gd name="connsiteY2" fmla="*/ 0 h 37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565" h="376518">
                <a:moveTo>
                  <a:pt x="0" y="376518"/>
                </a:moveTo>
                <a:lnTo>
                  <a:pt x="0" y="0"/>
                </a:lnTo>
                <a:lnTo>
                  <a:pt x="10905565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87350"/>
            <a:ext cx="9419362" cy="10526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reeform: Shape 10">
            <a:extLst>
              <a:ext uri="{FF2B5EF4-FFF2-40B4-BE49-F238E27FC236}">
                <a16:creationId xmlns:a16="http://schemas.microsoft.com/office/drawing/2014/main" id="{B5AB4FEF-AB48-4942-9A32-58ABA7599C3C}"/>
              </a:ext>
            </a:extLst>
          </p:cNvPr>
          <p:cNvSpPr/>
          <p:nvPr userDrawn="1"/>
        </p:nvSpPr>
        <p:spPr>
          <a:xfrm>
            <a:off x="647698" y="6411600"/>
            <a:ext cx="10896600" cy="144000"/>
          </a:xfrm>
          <a:custGeom>
            <a:avLst/>
            <a:gdLst>
              <a:gd name="connsiteX0" fmla="*/ 0 w 10905565"/>
              <a:gd name="connsiteY0" fmla="*/ 376518 h 376518"/>
              <a:gd name="connsiteX1" fmla="*/ 0 w 10905565"/>
              <a:gd name="connsiteY1" fmla="*/ 0 h 376518"/>
              <a:gd name="connsiteX2" fmla="*/ 10905565 w 10905565"/>
              <a:gd name="connsiteY2" fmla="*/ 0 h 37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565" h="376518">
                <a:moveTo>
                  <a:pt x="0" y="376518"/>
                </a:moveTo>
                <a:lnTo>
                  <a:pt x="0" y="0"/>
                </a:lnTo>
                <a:lnTo>
                  <a:pt x="10905565" y="0"/>
                </a:lnTo>
              </a:path>
            </a:pathLst>
          </a:cu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43746B-0224-44DF-AF40-79E2F3ECCB38}"/>
              </a:ext>
            </a:extLst>
          </p:cNvPr>
          <p:cNvSpPr txBox="1"/>
          <p:nvPr userDrawn="1"/>
        </p:nvSpPr>
        <p:spPr>
          <a:xfrm>
            <a:off x="720000" y="6462000"/>
            <a:ext cx="712694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/>
              <a:t>www.erm.com</a:t>
            </a:r>
          </a:p>
        </p:txBody>
      </p:sp>
    </p:spTree>
    <p:extLst>
      <p:ext uri="{BB962C8B-B14F-4D97-AF65-F5344CB8AC3E}">
        <p14:creationId xmlns:p14="http://schemas.microsoft.com/office/powerpoint/2010/main" val="964359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sign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AC718BE3-5EE8-F44E-919D-B4FAE20412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40138" y="2351370"/>
            <a:ext cx="6829048" cy="218421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0C25C82-B28C-AF4C-BAAB-48EC33D7F8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28600"/>
            <a:ext cx="540000" cy="69784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1C1B5E6-D8C0-5846-AB41-007AB4766303}"/>
              </a:ext>
            </a:extLst>
          </p:cNvPr>
          <p:cNvSpPr/>
          <p:nvPr userDrawn="1"/>
        </p:nvSpPr>
        <p:spPr>
          <a:xfrm>
            <a:off x="457201" y="6211301"/>
            <a:ext cx="3326780" cy="32316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700" b="0" i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Copyright 2022 by The ERM International Group Limited and/or its affiliates (‘ERM’). All Rights Reserved. No part of this work may be reproduced or transmitted in any form or by any means, without prior written permission of ERM.</a:t>
            </a:r>
            <a:endParaRPr lang="en-US" sz="7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9681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3E5C0-A919-43DA-B5DA-A83751EC5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939190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B - White 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4C98DD9E-C57A-5E8E-95B1-693E470589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93F8CB-3A1C-F190-F7C8-DFA32005F4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440000"/>
            <a:ext cx="5400000" cy="2520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" y="1633801"/>
            <a:ext cx="4367938" cy="9971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DAB893-EB02-4098-9292-09391239F6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" y="2716518"/>
            <a:ext cx="4367938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4666641B-BC22-53B0-6A73-28012926F0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90459" y="5359179"/>
            <a:ext cx="1166579" cy="1498821"/>
          </a:xfrm>
          <a:prstGeom prst="rect">
            <a:avLst/>
          </a:prstGeom>
          <a:solidFill>
            <a:schemeClr val="tx2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F9341D85-2773-1B40-5C7E-2FF0C9D26B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13748" y="5603950"/>
            <a:ext cx="720000" cy="97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40" name="Text Placeholder 37">
            <a:extLst>
              <a:ext uri="{FF2B5EF4-FFF2-40B4-BE49-F238E27FC236}">
                <a16:creationId xmlns:a16="http://schemas.microsoft.com/office/drawing/2014/main" id="{35BCB3EE-BAD7-DBAD-9B76-9CEAF20CF732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645298" y="6011178"/>
            <a:ext cx="2880000" cy="700556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9669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61" userDrawn="1">
          <p15:clr>
            <a:srgbClr val="FBAE40"/>
          </p15:clr>
        </p15:guide>
        <p15:guide id="2" orient="horz" pos="1706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3205" userDrawn="1">
          <p15:clr>
            <a:srgbClr val="FBAE40"/>
          </p15:clr>
        </p15:guide>
        <p15:guide id="5" pos="549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1122CAF-957F-4208-A144-79D082A30F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4140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25FA8C-9AEE-4770-9B9F-0C67940B4A58}"/>
              </a:ext>
            </a:extLst>
          </p:cNvPr>
          <p:cNvSpPr txBox="1"/>
          <p:nvPr userDrawn="1"/>
        </p:nvSpPr>
        <p:spPr>
          <a:xfrm>
            <a:off x="639449" y="6143863"/>
            <a:ext cx="5448000" cy="4373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GB" sz="1200" i="1">
                <a:solidFill>
                  <a:schemeClr val="bg2"/>
                </a:solidFill>
              </a:rPr>
              <a:t>The business of sustainability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79C211-2572-451F-85FF-E83018BA6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446000"/>
            <a:ext cx="3917576" cy="10526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381BD96-BA91-43F1-A2A3-CF8E5D2106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16800" y="4446587"/>
            <a:ext cx="2464782" cy="1671638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B9976B-7F6C-4A2E-BF0A-6750257DEF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92400" y="4446000"/>
            <a:ext cx="2464782" cy="1671638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1BAC1D-9079-4660-9D30-01CAC692CB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00" y="5857754"/>
            <a:ext cx="540000" cy="69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4817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mmy layout 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508652D-9796-56BE-110F-098FBD164735}"/>
              </a:ext>
            </a:extLst>
          </p:cNvPr>
          <p:cNvSpPr txBox="1"/>
          <p:nvPr userDrawn="1"/>
        </p:nvSpPr>
        <p:spPr>
          <a:xfrm>
            <a:off x="1866900" y="2362200"/>
            <a:ext cx="5457825" cy="164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/>
              <a:t>PLACEHOLDER SLIDE – DO NOT USE!</a:t>
            </a:r>
          </a:p>
        </p:txBody>
      </p:sp>
    </p:spTree>
    <p:extLst>
      <p:ext uri="{BB962C8B-B14F-4D97-AF65-F5344CB8AC3E}">
        <p14:creationId xmlns:p14="http://schemas.microsoft.com/office/powerpoint/2010/main" val="257298277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07ECE-AE74-3B5F-42B1-C1B9B0C3F85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4EC624-27D4-F8DC-8B88-2B7AA3C9C9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8D4C907-091D-F0EE-7D8E-64875C6878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321786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0906C-A931-4122-872F-7DE51204E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EC871D-AD3A-45F6-9C43-6EEB11B16E53}"/>
              </a:ext>
            </a:extLst>
          </p:cNvPr>
          <p:cNvSpPr/>
          <p:nvPr userDrawn="1"/>
        </p:nvSpPr>
        <p:spPr>
          <a:xfrm>
            <a:off x="0" y="1449387"/>
            <a:ext cx="12191999" cy="46688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54AAE50-5A1C-16B7-1788-AADB880295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9419363" cy="394923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213B54-DC13-37CF-7914-63473FE3F1B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2DFF8F-650A-3BEE-12F7-B96C06D6C51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5276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5199063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628775"/>
            <a:ext cx="5196611" cy="448944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8449C37-80B8-4315-7422-C0F260F5D70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B3A7A0-16D3-B2D5-6B2D-B2B8B30DC6C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69139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841E90F-9638-79C0-D3A8-82DA163EDFE1}"/>
              </a:ext>
            </a:extLst>
          </p:cNvPr>
          <p:cNvSpPr/>
          <p:nvPr userDrawn="1"/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5199063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628775"/>
            <a:ext cx="5196611" cy="448944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8449C37-80B8-4315-7422-C0F260F5D70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B3A7A0-16D3-B2D5-6B2D-B2B8B30DC6C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RM logo">
            <a:extLst>
              <a:ext uri="{FF2B5EF4-FFF2-40B4-BE49-F238E27FC236}">
                <a16:creationId xmlns:a16="http://schemas.microsoft.com/office/drawing/2014/main" id="{08BEC3FD-D033-02BF-3208-2DFE3625F8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7535" y="198928"/>
            <a:ext cx="660506" cy="79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17300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2" y="1628775"/>
            <a:ext cx="5196612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7096BC9-322C-4311-8C7E-1006AE6E63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1628776"/>
            <a:ext cx="5199062" cy="44894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C5F5C-9C35-D567-3CE2-09A80F4AA1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C2C32F-3340-19FC-48F1-D5A3E4A973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77564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4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60FEE8B-DAE4-1786-7029-58B9A8C3EA23}"/>
              </a:ext>
            </a:extLst>
          </p:cNvPr>
          <p:cNvSpPr/>
          <p:nvPr userDrawn="1"/>
        </p:nvSpPr>
        <p:spPr>
          <a:xfrm>
            <a:off x="6275388" y="0"/>
            <a:ext cx="50230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2" y="1628775"/>
            <a:ext cx="5196612" cy="4491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7096BC9-322C-4311-8C7E-1006AE6E63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39655" y="1628775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A99C1CE-AD61-4C9E-9CEB-98A1A18B1F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68855" y="1628775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0B670FA-8F68-422E-8F6E-1BE721EEBB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68855" y="4068000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027EA1-9A13-474A-B6EF-BD98923BDF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39473" y="4068000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C6AFE0-4A21-54A8-1736-A94CD9C3D9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3CE3DA-BCAB-E80F-8411-0D66A7D7F5A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29783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0906C-A931-4122-872F-7DE51204E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D8409BB-B9EB-4EAC-9110-1DE60201DA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550" y="1628776"/>
            <a:ext cx="10754450" cy="44894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D55E9A-A34B-0DAF-CCD8-DE7857C9D5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A9506A-32D9-217A-2D4F-8F880ACC838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11171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7600" cy="666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55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26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2399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74775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4399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8000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2865" y="2112788"/>
            <a:ext cx="568800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200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688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706" userDrawn="1">
          <p15:clr>
            <a:srgbClr val="FBAE40"/>
          </p15:clr>
        </p15:guide>
        <p15:guide id="3" pos="497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9F103DC-EE5D-4BA0-BE78-6FE1E39E96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16613" y="9525"/>
            <a:ext cx="627538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3251" y="358775"/>
            <a:ext cx="4657038" cy="172922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DAB893-EB02-4098-9292-09391239F6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3251" y="2357999"/>
            <a:ext cx="4658400" cy="180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C6B8347-A0E7-593B-9AB4-81D8550774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3251" y="9525"/>
            <a:ext cx="144000" cy="208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B539235-9FD1-D92D-9236-ED7427160C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3251" y="2223000"/>
            <a:ext cx="144000" cy="3122263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8A1951A-6A00-477A-AF1D-05CBDAF621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3251" y="5480263"/>
            <a:ext cx="144000" cy="1368000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D465BF6C-DD4F-9D7C-F2AF-D5A9D12F4F79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848549" y="6021419"/>
            <a:ext cx="2880000" cy="70055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A549A53-65E2-11FE-6E4D-2A847C7D0A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90459" y="5359179"/>
            <a:ext cx="1166579" cy="1498821"/>
          </a:xfrm>
          <a:prstGeom prst="rect">
            <a:avLst/>
          </a:prstGeom>
          <a:solidFill>
            <a:schemeClr val="tx2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9014E5B-D50A-2A23-B91C-7B6422AFCA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13748" y="5603950"/>
            <a:ext cx="720000" cy="972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37123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29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60000"/>
            <a:ext cx="9417600" cy="65857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44883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4883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8077783-B591-7A17-C51C-447733FC98BD}"/>
              </a:ext>
            </a:extLst>
          </p:cNvPr>
          <p:cNvCxnSpPr>
            <a:cxnSpLocks/>
          </p:cNvCxnSpPr>
          <p:nvPr userDrawn="1"/>
        </p:nvCxnSpPr>
        <p:spPr>
          <a:xfrm>
            <a:off x="6102538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A60753A-BAB7-D12D-2404-68517A3D5688}"/>
              </a:ext>
            </a:extLst>
          </p:cNvPr>
          <p:cNvCxnSpPr>
            <a:cxnSpLocks/>
          </p:cNvCxnSpPr>
          <p:nvPr userDrawn="1"/>
        </p:nvCxnSpPr>
        <p:spPr>
          <a:xfrm>
            <a:off x="3367637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5A18FE8-FF2D-2D22-612A-5DD9D547A19E}"/>
              </a:ext>
            </a:extLst>
          </p:cNvPr>
          <p:cNvCxnSpPr>
            <a:cxnSpLocks/>
          </p:cNvCxnSpPr>
          <p:nvPr userDrawn="1"/>
        </p:nvCxnSpPr>
        <p:spPr>
          <a:xfrm>
            <a:off x="8837440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14486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94486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74450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54450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11074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91074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78735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5BEEFC8-5C4B-887F-4FC8-CE01F1F581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2064496"/>
            <a:ext cx="12192000" cy="331144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3150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7153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92753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67117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52717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741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9341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7717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07ECE-AE74-3B5F-42B1-C1B9B0C3F85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4EC624-27D4-F8DC-8B88-2B7AA3C9C9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C0210E-CEC3-9B67-DDF4-9661577259F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11200" y="1628775"/>
            <a:ext cx="10760075" cy="4489450"/>
          </a:xfrm>
        </p:spPr>
        <p:txBody>
          <a:bodyPr/>
          <a:lstStyle/>
          <a:p>
            <a:pPr lvl="0"/>
            <a:r>
              <a:rPr lang="en-GB"/>
              <a:t>Click Table or Chart icon for op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61748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92C801-F31C-D8CF-7065-50C49B2BF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FBA089-925D-9BA5-6029-7B6E2A72DF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4800" y="6480000"/>
            <a:ext cx="4834800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</p:spTree>
    <p:extLst>
      <p:ext uri="{BB962C8B-B14F-4D97-AF65-F5344CB8AC3E}">
        <p14:creationId xmlns:p14="http://schemas.microsoft.com/office/powerpoint/2010/main" val="106696432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FBA089-925D-9BA5-6029-7B6E2A72DF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4800" y="6480000"/>
            <a:ext cx="4834800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1322DF-0085-7BEC-B3C2-66BA1F89FD5E}"/>
              </a:ext>
            </a:extLst>
          </p:cNvPr>
          <p:cNvSpPr/>
          <p:nvPr userDrawn="1"/>
        </p:nvSpPr>
        <p:spPr>
          <a:xfrm>
            <a:off x="0" y="0"/>
            <a:ext cx="5916613" cy="1449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20077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+ colou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1D525C-AD5C-29A4-8AC9-89F8DD88E7ED}"/>
              </a:ext>
            </a:extLst>
          </p:cNvPr>
          <p:cNvSpPr/>
          <p:nvPr userDrawn="1"/>
        </p:nvSpPr>
        <p:spPr>
          <a:xfrm>
            <a:off x="7500938" y="18000"/>
            <a:ext cx="469106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487C49-76B3-71C8-4614-9F96F84018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E59C2-372C-FB1A-95F0-E59DE57680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E4A495B-01C6-5A25-4396-C11E1DB249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4F3DAEB-8BF6-1DB9-B2F7-6A2E4BE3D69B}"/>
              </a:ext>
            </a:extLst>
          </p:cNvPr>
          <p:cNvGrpSpPr/>
          <p:nvPr userDrawn="1"/>
        </p:nvGrpSpPr>
        <p:grpSpPr>
          <a:xfrm>
            <a:off x="7111405" y="0"/>
            <a:ext cx="144000" cy="6876000"/>
            <a:chOff x="5280312" y="0"/>
            <a:chExt cx="144000" cy="6876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DA7CFF-EA0C-92D0-47CB-F9F6820E5FD9}"/>
                </a:ext>
              </a:extLst>
            </p:cNvPr>
            <p:cNvSpPr/>
            <p:nvPr userDrawn="1"/>
          </p:nvSpPr>
          <p:spPr>
            <a:xfrm>
              <a:off x="5280312" y="0"/>
              <a:ext cx="144000" cy="208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3423DB-FDCD-EE11-DABB-72DA0DBBEF58}"/>
                </a:ext>
              </a:extLst>
            </p:cNvPr>
            <p:cNvSpPr/>
            <p:nvPr userDrawn="1"/>
          </p:nvSpPr>
          <p:spPr>
            <a:xfrm>
              <a:off x="5280312" y="2240643"/>
              <a:ext cx="144000" cy="313199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6A658E-E5DC-EF8F-D776-4E728FAA8766}"/>
                </a:ext>
              </a:extLst>
            </p:cNvPr>
            <p:cNvSpPr/>
            <p:nvPr userDrawn="1"/>
          </p:nvSpPr>
          <p:spPr>
            <a:xfrm>
              <a:off x="5280312" y="5472000"/>
              <a:ext cx="144000" cy="140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00E6DF83-3450-6683-1919-5BFF3F2CA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090804"/>
            <a:ext cx="504031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71BB441E-620A-C4B1-6CF0-F720763DAC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5687" y="2088000"/>
            <a:ext cx="504031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2pPr>
              <a:defRPr b="0"/>
            </a:lvl2pPr>
          </a:lstStyle>
          <a:p>
            <a:pPr lvl="1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6939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0C336B-3A73-AAFA-6B75-C4F2A1FFDA3A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513BF10-0B2D-7C64-0C16-F981C837E9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9945"/>
            <a:ext cx="1540800" cy="1843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7217EB8-6E9C-7980-0258-19A4F42EB8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91999" y="1809945"/>
            <a:ext cx="3324614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523F378-2F96-1912-E903-B891A7E69C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809945"/>
            <a:ext cx="5199062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93011B-D027-CAAB-E0CC-71B7263F55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1200" y="3767481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F6C404A-7C41-19B3-F939-C80672F005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4364303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F2B15FB-4652-13C6-3780-D64E4DF15F0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11200" y="4612909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2296062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F82EC27-44EE-DCC2-265E-5586FECCF277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A8516CC7-9416-B793-F3DD-C100B894FB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7224520-BA93-D5AF-C8CE-6142E8E27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916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F09E23C-506F-9D64-6551-64E1514912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67907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88028E4-6818-D6B0-B663-69C464E449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67907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A76C26C-A524-9F81-9376-AEA5D3DA5ED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2267907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C9236BFA-AD9C-1D9D-5FE7-0509F31610EB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8394016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B16875A3-F07A-65B6-1378-68F04B871C51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83931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3E0CA99-6F56-3C06-B5E1-DBE906AC2C9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9941922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9F09AD6-1580-34D8-4CA5-6A5067191FE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941922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49771EF-4DE4-E3EA-B882-883BA24023B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941922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9AA3689F-1F30-4B9C-7E88-A2C04D9B0312}"/>
              </a:ext>
            </a:extLst>
          </p:cNvPr>
          <p:cNvSpPr>
            <a:spLocks noGrp="1"/>
          </p:cNvSpPr>
          <p:nvPr>
            <p:ph type="pic" sz="quarter" idx="101"/>
          </p:nvPr>
        </p:nvSpPr>
        <p:spPr>
          <a:xfrm>
            <a:off x="4493347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9B3D8BB0-B5A2-1535-A853-C59A738371BF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4483262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AF34117-F6D0-4604-4228-EE4758CCF4A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6041253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EB35516-EB72-517B-B83B-3C8CB3D57F3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6041253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011EB0B-93B9-385A-2655-62F9FC35D59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041253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24376113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8D91A809-FACF-B437-E3D2-9C6DA4B2D2CC}"/>
              </a:ext>
            </a:extLst>
          </p:cNvPr>
          <p:cNvSpPr/>
          <p:nvPr userDrawn="1"/>
        </p:nvSpPr>
        <p:spPr>
          <a:xfrm>
            <a:off x="0" y="1449388"/>
            <a:ext cx="12192000" cy="4881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C8C11-D43A-A1E1-5DB6-B31C5791B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9576D7-66C7-11FA-4636-D04223433F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D8690-1445-5800-70C5-FB428ABA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Picture Placeholder 192">
            <a:extLst>
              <a:ext uri="{FF2B5EF4-FFF2-40B4-BE49-F238E27FC236}">
                <a16:creationId xmlns:a16="http://schemas.microsoft.com/office/drawing/2014/main" id="{1DDCB019-D3A4-ED5A-7F13-375895AD33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223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EE530E1-742A-3F74-8F5D-985C33AE37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E721A5F-38F0-5984-9169-2A99AF2B0C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B4FF2F4-E7BA-2354-CC72-9C7AF789F2B3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2000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100CE9-6E39-FED1-7EAD-376BDCFC2407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2000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Picture Placeholder 192">
            <a:extLst>
              <a:ext uri="{FF2B5EF4-FFF2-40B4-BE49-F238E27FC236}">
                <a16:creationId xmlns:a16="http://schemas.microsoft.com/office/drawing/2014/main" id="{82C70FA0-73CE-D74A-3D4E-768D593797C1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27657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714F169-097B-28F8-C99B-1777D54774C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5835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69B24DF-9045-2A6A-E37A-048D28D108B8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5835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4AE83D0-C947-AA58-C5C1-DE61B61C7DE7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25835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6DD045-D951-AE39-4745-6EE6EB039B6A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25835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5" name="Picture Placeholder 192">
            <a:extLst>
              <a:ext uri="{FF2B5EF4-FFF2-40B4-BE49-F238E27FC236}">
                <a16:creationId xmlns:a16="http://schemas.microsoft.com/office/drawing/2014/main" id="{6337D75E-0E05-3230-A3EB-AB17D4447034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4652430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8EE87E7-BB54-21AD-7D66-5D0E2BD53154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4470197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B87D51-B144-28FC-E48F-FC54A816545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470197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423F9DA-30E8-DABB-FA9C-ADFE960B67A4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470197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7D6280-F93F-A74E-1D54-31FB55119B6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470197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0" name="Picture Placeholder 192">
            <a:extLst>
              <a:ext uri="{FF2B5EF4-FFF2-40B4-BE49-F238E27FC236}">
                <a16:creationId xmlns:a16="http://schemas.microsoft.com/office/drawing/2014/main" id="{D9C0BD39-9F31-F4C0-427C-92F217355FD0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64696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0566EA-8C74-D249-98F2-2884911D31DD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874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370FE49-4D44-F248-236E-CF91DD6FBA3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2874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6F66A73-5991-9696-9FA9-18822629BD9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2874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F279D23-355A-6F63-768D-D949401C191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2874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5" name="Picture Placeholder 192">
            <a:extLst>
              <a:ext uri="{FF2B5EF4-FFF2-40B4-BE49-F238E27FC236}">
                <a16:creationId xmlns:a16="http://schemas.microsoft.com/office/drawing/2014/main" id="{4D2307F6-BD6F-8B6F-F323-51191E9C4630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8333179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00DF51-2363-6B6E-0BB3-24E9F8999FC9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150946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0102495-CAF9-80C6-FBE2-6C1B304DCAA3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8150946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EDB4C3-14FC-1E46-8133-02310C83E237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8150946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344F29F-3C2A-1BC6-B0FC-E2FBDAC55FBB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150946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0" name="Picture Placeholder 192">
            <a:extLst>
              <a:ext uri="{FF2B5EF4-FFF2-40B4-BE49-F238E27FC236}">
                <a16:creationId xmlns:a16="http://schemas.microsoft.com/office/drawing/2014/main" id="{EF99C791-5B82-2094-B20B-AB854C1F0DEC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1021985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AA844A7-F36D-0EEE-EA68-3F090558F8B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1003762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89A6EFE-1966-07A1-2B3C-683E15643C7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003762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CF63A3B-8910-4FD7-F353-2D4A2C123ACB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003762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134E6F1-529C-8808-1F2E-235B1495B7EA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1003762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5" name="Picture Placeholder 192">
            <a:extLst>
              <a:ext uri="{FF2B5EF4-FFF2-40B4-BE49-F238E27FC236}">
                <a16:creationId xmlns:a16="http://schemas.microsoft.com/office/drawing/2014/main" id="{DBC7F2A6-54A8-28E8-A710-572978C3AE3E}"/>
              </a:ext>
            </a:extLst>
          </p:cNvPr>
          <p:cNvSpPr>
            <a:spLocks noGrp="1"/>
          </p:cNvSpPr>
          <p:nvPr>
            <p:ph type="pic" sz="quarter" idx="122" hasCustomPrompt="1"/>
          </p:nvPr>
        </p:nvSpPr>
        <p:spPr>
          <a:xfrm>
            <a:off x="90223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BE1C620-AF50-32B9-285B-9E5534E0B74D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72000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E60EFF8-02FC-3C80-F792-21D9CD2ADC06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72000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D09B84E-DFC7-083D-3A37-E68A80AB7B50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72000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DA545C0-471E-2053-4F35-95ADA1A3A309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72000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0" name="Picture Placeholder 192">
            <a:extLst>
              <a:ext uri="{FF2B5EF4-FFF2-40B4-BE49-F238E27FC236}">
                <a16:creationId xmlns:a16="http://schemas.microsoft.com/office/drawing/2014/main" id="{585AE484-0A7F-D206-C1A9-7BDB7C3E02E1}"/>
              </a:ext>
            </a:extLst>
          </p:cNvPr>
          <p:cNvSpPr>
            <a:spLocks noGrp="1"/>
          </p:cNvSpPr>
          <p:nvPr>
            <p:ph type="pic" sz="quarter" idx="127" hasCustomPrompt="1"/>
          </p:nvPr>
        </p:nvSpPr>
        <p:spPr>
          <a:xfrm>
            <a:off x="27657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5D61A59-9EF3-5A59-AE4D-66E089D51F81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5835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D8A9D09-28A1-24B0-B985-1B2AD63C0A82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25835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898FEBD-EE32-A59D-66FD-EDE4BC401303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25835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21BB3FE-DC70-EF9D-B3DA-7EA859B46E57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25835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5" name="Picture Placeholder 192">
            <a:extLst>
              <a:ext uri="{FF2B5EF4-FFF2-40B4-BE49-F238E27FC236}">
                <a16:creationId xmlns:a16="http://schemas.microsoft.com/office/drawing/2014/main" id="{1788EEA8-ACDD-91A7-47BF-DDD5AD00B94A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652430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BCBBF01-D975-1034-1C79-F233A43B0247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4470197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A158FE-7033-252B-04B9-84A7D5C5AA7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4470197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4526289-86F0-D327-00A0-866CE423BF93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4470197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95B67B2-F740-5154-486B-B2AB2A363637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4470197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" name="Picture Placeholder 192">
            <a:extLst>
              <a:ext uri="{FF2B5EF4-FFF2-40B4-BE49-F238E27FC236}">
                <a16:creationId xmlns:a16="http://schemas.microsoft.com/office/drawing/2014/main" id="{E2F23E85-FF0D-60FC-6FC0-8981AF435D08}"/>
              </a:ext>
            </a:extLst>
          </p:cNvPr>
          <p:cNvSpPr>
            <a:spLocks noGrp="1"/>
          </p:cNvSpPr>
          <p:nvPr>
            <p:ph type="pic" sz="quarter" idx="137" hasCustomPrompt="1"/>
          </p:nvPr>
        </p:nvSpPr>
        <p:spPr>
          <a:xfrm>
            <a:off x="64696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C5855E-1308-E7D1-EA21-D8EDD0F805B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62874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19DDA8-EC67-2FA8-5792-93AFD3B1E172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62874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8AD02F9-0C80-5FEC-5810-591712947A9D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62874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4961B98-ABC4-BBC2-EA29-AE2637CB6925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62874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5" name="Picture Placeholder 192">
            <a:extLst>
              <a:ext uri="{FF2B5EF4-FFF2-40B4-BE49-F238E27FC236}">
                <a16:creationId xmlns:a16="http://schemas.microsoft.com/office/drawing/2014/main" id="{C950E0AD-B08B-14D2-407D-570EC50DEA51}"/>
              </a:ext>
            </a:extLst>
          </p:cNvPr>
          <p:cNvSpPr>
            <a:spLocks noGrp="1"/>
          </p:cNvSpPr>
          <p:nvPr>
            <p:ph type="pic" sz="quarter" idx="142" hasCustomPrompt="1"/>
          </p:nvPr>
        </p:nvSpPr>
        <p:spPr>
          <a:xfrm>
            <a:off x="8333179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F64DC3C-2204-BB53-9422-946D1C0305E1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8150946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ACBAD66-64B7-F722-8BBD-E218E8438257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150946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5606D5-F9AC-1ADB-2306-F49A883E11BC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8150946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FF54DE5-68CA-625C-6E85-215FAE8A0E7A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150946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0" name="Picture Placeholder 192">
            <a:extLst>
              <a:ext uri="{FF2B5EF4-FFF2-40B4-BE49-F238E27FC236}">
                <a16:creationId xmlns:a16="http://schemas.microsoft.com/office/drawing/2014/main" id="{D5B2E7CF-32E9-0FDE-13FF-46A9EE50793C}"/>
              </a:ext>
            </a:extLst>
          </p:cNvPr>
          <p:cNvSpPr>
            <a:spLocks noGrp="1"/>
          </p:cNvSpPr>
          <p:nvPr>
            <p:ph type="pic" sz="quarter" idx="147" hasCustomPrompt="1"/>
          </p:nvPr>
        </p:nvSpPr>
        <p:spPr>
          <a:xfrm>
            <a:off x="1021985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4C57A2A-3F54-E260-830D-0F47E6E6624C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1003762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686DE3A-CAC4-585D-B414-2C794C2F52F4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1003762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FCC427-7F34-F453-9297-6CB2797D0FCE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1003762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9D39DDC-01E1-71BC-595C-CAF818F30024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1003762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31830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91D5554-C232-CFDD-D0B5-F98F527C8981}"/>
              </a:ext>
            </a:extLst>
          </p:cNvPr>
          <p:cNvSpPr/>
          <p:nvPr userDrawn="1"/>
        </p:nvSpPr>
        <p:spPr>
          <a:xfrm>
            <a:off x="0" y="1655469"/>
            <a:ext cx="12192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0CEBB5-DD40-DE49-13F4-3DD312519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C87F95-C39E-E7B3-6D3B-A63551FC73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9A5DD519-C01F-A2E2-A0C3-C3C3D5992D5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1200" y="1449388"/>
            <a:ext cx="4691062" cy="4668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4148DC73-FB35-F9E5-3ADB-2CDDE5CBAF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16612" y="189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72F48D9-E3E4-FC67-B3F0-C9071BCD30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612" y="189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ABCF8852-4F38-DF88-E8DE-24A25D8B59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16612" y="225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8556BCA-A8CE-E877-4722-A62674EC07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56612" y="225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1722221-D510-1535-C657-4B3305003D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6612" y="261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5910604-9421-11A0-9B3A-95448B269B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56612" y="261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ACD2997-B3A5-4DD3-E072-C56530C194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16612" y="297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BD1FBAF-4E24-BEF7-C204-ACF0139FB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56612" y="297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986A78B7-1172-85EB-E140-DE5B11E865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16612" y="3563999"/>
            <a:ext cx="5555388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DAD8D03-ABE4-D589-D022-A21FCAB9DCF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916612" y="3923469"/>
            <a:ext cx="5580000" cy="2194756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0E6529-5558-DABE-A1C0-180A7A6F1C51}"/>
              </a:ext>
            </a:extLst>
          </p:cNvPr>
          <p:cNvSpPr txBox="1"/>
          <p:nvPr userDrawn="1"/>
        </p:nvSpPr>
        <p:spPr>
          <a:xfrm>
            <a:off x="5775767" y="131951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2B8A55-04FF-C589-04DD-7CC3267F52A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</p:spTree>
    <p:extLst>
      <p:ext uri="{BB962C8B-B14F-4D97-AF65-F5344CB8AC3E}">
        <p14:creationId xmlns:p14="http://schemas.microsoft.com/office/powerpoint/2010/main" val="15561143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9F103DC-EE5D-4BA0-BE78-6FE1E39E96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63F61D3-49AE-3D1D-306C-6E1965D33A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0000" y="0"/>
            <a:ext cx="5712000" cy="6858000"/>
          </a:xfrm>
          <a:prstGeom prst="rect">
            <a:avLst/>
          </a:prstGeom>
          <a:solidFill>
            <a:schemeClr val="tx2">
              <a:alpha val="95000"/>
            </a:schemeClr>
          </a:solidFill>
          <a:ln>
            <a:noFill/>
          </a:ln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0001" y="358775"/>
            <a:ext cx="4662594" cy="172922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DAB893-EB02-4098-9292-09391239F6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0000" y="2357999"/>
            <a:ext cx="4658400" cy="180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3DE9A3-5AB7-4502-A89A-14D92487F1BF}"/>
              </a:ext>
            </a:extLst>
          </p:cNvPr>
          <p:cNvSpPr txBox="1"/>
          <p:nvPr userDrawn="1"/>
        </p:nvSpPr>
        <p:spPr>
          <a:xfrm>
            <a:off x="6840000" y="4096800"/>
            <a:ext cx="4704298" cy="403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GB" sz="60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163D78-1A6E-1FDA-B077-5151672C6A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96000" y="0"/>
            <a:ext cx="144000" cy="208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86B0DD2-B8B5-7269-0F59-58C85ABBCF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96000" y="2223000"/>
            <a:ext cx="144000" cy="3122263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5494B9C-A3B0-3243-F340-AD3C816CE4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6000" y="5480263"/>
            <a:ext cx="144000" cy="136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6" name="Text Placeholder 37">
            <a:extLst>
              <a:ext uri="{FF2B5EF4-FFF2-40B4-BE49-F238E27FC236}">
                <a16:creationId xmlns:a16="http://schemas.microsoft.com/office/drawing/2014/main" id="{116177C3-848B-4256-128F-9A7A0476D905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7093161" y="6011178"/>
            <a:ext cx="2880000" cy="700556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17492AE-AC48-78D0-4F9E-976614EA86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13748" y="5603950"/>
            <a:ext cx="720000" cy="972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28084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294" userDrawn="1">
          <p15:clr>
            <a:srgbClr val="FBAE40"/>
          </p15:clr>
        </p15:guide>
        <p15:guide id="2" pos="452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90A54F3-B663-E1EC-A608-34D3C28C21AE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6496A09-D5DA-111F-2EB7-317E1248742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1200" y="1449801"/>
            <a:ext cx="5205412" cy="46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t" anchorCtr="0"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A51C3C5-F752-088F-A54F-FAC50AB393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725" y="1449850"/>
            <a:ext cx="5195888" cy="1990725"/>
          </a:xfrm>
          <a:solidFill>
            <a:schemeClr val="accent1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28781-3BCE-F021-213B-25B79DB1F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32A5EDC-7A27-FCD2-6E63-C1F37833DC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9388" y="169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BFE42739-9E14-E14C-8676-28AD809446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9389" y="169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5738A2F-0411-B158-8132-070FBE33D58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9388" y="205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43CB63BA-9E19-DD1F-DAC1-E7E359C109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9389" y="205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7DD4E4F-DA33-08E6-3512-4B69BBF62E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388" y="241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037CBAA-892A-7C8F-AEEE-457FF91396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39389" y="241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2B40B4-75CF-2121-C81A-36BB31B4B3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9388" y="277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D6914C4-D565-C7E0-343A-419361404D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9389" y="277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AEA80A-6D6C-578C-937D-2CBD58D4D4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89546" y="1683905"/>
            <a:ext cx="5182453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2EDE45E-CB19-DA2B-22CF-EB5FAD93705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91198" y="2043904"/>
            <a:ext cx="5205413" cy="390548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marL="0" lvl="0" indent="0">
              <a:buNone/>
            </a:pPr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CB25B1-0FC0-E065-FF38-0C7C32C09158}"/>
              </a:ext>
            </a:extLst>
          </p:cNvPr>
          <p:cNvSpPr txBox="1"/>
          <p:nvPr userDrawn="1"/>
        </p:nvSpPr>
        <p:spPr>
          <a:xfrm>
            <a:off x="584502" y="16316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C5D669-8BE1-D226-D56C-86B557A9EDC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994DE5-5C88-9AC9-B73C-23B749740F3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9729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B77D9FA3-DA7C-AEA3-C84F-9AE62F0C8CA0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F21790-2016-8C5E-0579-ACC0AC60B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D46F3A02-85CA-E511-7D61-C8F5A597D2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200" y="160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387601E-9E03-C5A9-856A-B1FFCDE949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1200" y="160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A20D34E6-D18D-AFE7-6B1B-92284156ED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200" y="196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2BFBB20-189D-C6B8-2454-56E18275340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1200" y="196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1222CEE-094C-07F2-772A-A14BC36F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00" y="232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EFF613F-A336-FFEE-F7DB-A71FD3DBAD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1200" y="232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75E1B9F-2938-00DA-2E17-E0AC3D1752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268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E371E21-14C6-0308-1DE7-CCB8845218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1200" y="268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8F751FA-B2D2-9DB4-1A97-6030F0594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1200" y="3060000"/>
            <a:ext cx="5555388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63203BA-8412-965B-7F70-0734A43B1D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11200" y="3419999"/>
            <a:ext cx="5580000" cy="269822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5971BC-29CA-4E0E-B2F9-69FFE497554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2BEE176-297F-F9BA-55A6-FE1279672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F7270B8-A4AB-38F3-B043-CBB41877087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7291750-0B2F-561C-7349-A36600FBBFC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07812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E6A37DC-55F1-C020-537F-AB3DEC2944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1947687"/>
            <a:ext cx="12192000" cy="893038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55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26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2399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74775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4399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8000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2865" y="2112788"/>
            <a:ext cx="568800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200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5048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706" userDrawn="1">
          <p15:clr>
            <a:srgbClr val="FBAE40"/>
          </p15:clr>
        </p15:guide>
        <p15:guide id="3" pos="4974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8"/>
            <a:ext cx="12191999" cy="1071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7153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87153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67117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47117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741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3741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54956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9"/>
            <a:ext cx="12191999" cy="62569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600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8600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774452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54452" y="2273013"/>
            <a:ext cx="568800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54452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274800" y="6480000"/>
            <a:ext cx="4833978" cy="123112"/>
          </a:xfr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92F59D-1271-B884-C66B-306E3FF5BE78}"/>
              </a:ext>
            </a:extLst>
          </p:cNvPr>
          <p:cNvSpPr txBox="1"/>
          <p:nvPr userDrawn="1"/>
        </p:nvSpPr>
        <p:spPr>
          <a:xfrm>
            <a:off x="-1232034" y="638154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845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ighlight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0938" y="0"/>
            <a:ext cx="4691062" cy="6858001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3AEE85D-3E6C-19E4-AA87-4014B2F1333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828005" y="1628776"/>
            <a:ext cx="3646445" cy="44894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7E9DC8D-C4FF-2DC8-D3AC-E966236F0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620212-BC66-F5A3-2F5F-E9E695B6C6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A0914F-AA81-1D04-83A7-B9340FFC5F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825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74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0CB5498-4B9B-0538-B725-6EC270716F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C7C2C7-91DB-03AE-314C-A2FA80FF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A6D6A4-3630-DB65-AB04-7BF2C82C364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4A0447-2E7B-0757-3F32-6BFE572BB7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606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74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229475" y="0"/>
            <a:ext cx="49625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0DE0D6-F9EE-AC59-A81E-744256C6A67C}"/>
              </a:ext>
            </a:extLst>
          </p:cNvPr>
          <p:cNvSpPr/>
          <p:nvPr userDrawn="1"/>
        </p:nvSpPr>
        <p:spPr>
          <a:xfrm>
            <a:off x="0" y="0"/>
            <a:ext cx="5916613" cy="1594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0000" y="2176378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1" y="0"/>
            <a:ext cx="108000" cy="27432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EBE34724-EDF1-3058-CEF3-FA28FC8DBB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B3E7C1-9B58-D1C9-DBB5-7EF628CFFA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C2094D-0D26-BAA9-31B3-FD10A98F8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999" y="1092444"/>
            <a:ext cx="4836613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26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496252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0769" y="2538777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875C6-4468-ED5D-851F-96AC8BEE7B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74800" y="6480000"/>
            <a:ext cx="48348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4483" y="1089025"/>
            <a:ext cx="3321989" cy="10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DC8FA5-E1F4-4383-1760-0CE7F79D6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0769" y="1449388"/>
            <a:ext cx="4566832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672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86A6510-F2BB-03C8-B464-7D75C127D8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166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5916613" cy="3429000"/>
          </a:xfrm>
          <a:prstGeom prst="rect">
            <a:avLst/>
          </a:prstGeom>
          <a:solidFill>
            <a:srgbClr val="007A5F">
              <a:alpha val="90000"/>
            </a:srgb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D52D1D-FAD3-5FCE-4D33-6FC96E8CE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0000" y="1080000"/>
            <a:ext cx="4320000" cy="1461939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39EC09-F8E8-0145-EA7C-09864D035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0"/>
            <a:ext cx="108000" cy="2519363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8" y="1628776"/>
            <a:ext cx="5196611" cy="4489450"/>
          </a:xfrm>
          <a:prstGeom prst="rect">
            <a:avLst/>
          </a:prstGeom>
        </p:spPr>
        <p:txBody>
          <a:bodyPr/>
          <a:lstStyle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074E42-12F2-5043-E09B-B83129388FD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BB3D09-0939-1E5A-0D08-094BEF4107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0FFD13-5869-4A6E-DBFF-93BE803E3CCB}"/>
              </a:ext>
            </a:extLst>
          </p:cNvPr>
          <p:cNvSpPr txBox="1"/>
          <p:nvPr userDrawn="1"/>
        </p:nvSpPr>
        <p:spPr>
          <a:xfrm>
            <a:off x="717550" y="6480000"/>
            <a:ext cx="71269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7B23B69-7424-172D-1B61-ABADF08919A3}"/>
              </a:ext>
            </a:extLst>
          </p:cNvPr>
          <p:cNvSpPr txBox="1">
            <a:spLocks/>
          </p:cNvSpPr>
          <p:nvPr userDrawn="1"/>
        </p:nvSpPr>
        <p:spPr>
          <a:xfrm>
            <a:off x="717550" y="6656472"/>
            <a:ext cx="712694" cy="20152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943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1122CAF-957F-4208-A144-79D082A30F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41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25FA8C-9AEE-4770-9B9F-0C67940B4A58}"/>
              </a:ext>
            </a:extLst>
          </p:cNvPr>
          <p:cNvSpPr txBox="1"/>
          <p:nvPr userDrawn="1"/>
        </p:nvSpPr>
        <p:spPr>
          <a:xfrm>
            <a:off x="717549" y="6188311"/>
            <a:ext cx="5369899" cy="4373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GB" sz="1200" i="1">
                <a:solidFill>
                  <a:schemeClr val="bg2"/>
                </a:solidFill>
              </a:rPr>
              <a:t>The business of sustainability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79C211-2572-451F-85FF-E83018BA6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4446000"/>
            <a:ext cx="3847726" cy="105265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381BD96-BA91-43F1-A2A3-CF8E5D2106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16800" y="4446000"/>
            <a:ext cx="2464782" cy="167163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14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4B9976B-7F6C-4A2E-BF0A-6750257DEF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92400" y="4446000"/>
            <a:ext cx="2464782" cy="167163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0"/>
              </a:spcAft>
              <a:defRPr sz="1400"/>
            </a:lvl1pPr>
            <a:lvl2pPr>
              <a:spcBef>
                <a:spcPts val="0"/>
              </a:spcBef>
              <a:spcAft>
                <a:spcPts val="0"/>
              </a:spcAft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260AF7-3EDD-9864-1AE5-DFCAA70747C6}"/>
              </a:ext>
            </a:extLst>
          </p:cNvPr>
          <p:cNvPicPr>
            <a:picLocks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5199" y="5605200"/>
            <a:ext cx="720000" cy="972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9698D9EF-2973-F9BA-9B24-BE87ED7860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rot="16200000">
            <a:off x="9554969" y="3084172"/>
            <a:ext cx="144000" cy="2251824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CAACE38-D58C-847A-2F41-E40D07F24E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 rot="16200000">
            <a:off x="4141187" y="-3101"/>
            <a:ext cx="144000" cy="8426372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FF94E02-9D44-2751-4908-4662234708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11436000" y="3526085"/>
            <a:ext cx="144000" cy="1368000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80906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imag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389" y="0"/>
            <a:ext cx="5916612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875C6-4468-ED5D-851F-96AC8BEE7B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28472" y="6480000"/>
            <a:ext cx="7056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1" y="0"/>
            <a:ext cx="108000" cy="27432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106681B5-7809-9393-3E15-865843C1FC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7467DD-4F23-FB42-B342-6A99A9E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089025"/>
            <a:ext cx="5040312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33BFB043-A00F-F0E0-E293-4EEA489E62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5688" y="2086221"/>
            <a:ext cx="504031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2pPr>
              <a:defRPr b="0"/>
            </a:lvl2pPr>
          </a:lstStyle>
          <a:p>
            <a:pPr lvl="1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101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665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imag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FA3F960C-8992-7392-E3AD-61FFD6584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6545" y="0"/>
            <a:ext cx="5085454" cy="6858000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0"/>
            <a:ext cx="7106544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rot="10800000">
            <a:off x="6405735" y="1152000"/>
            <a:ext cx="2880000" cy="10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106681B5-7809-9393-3E15-865843C1FC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AA9F84-C0A0-2B8A-BAFB-ED1BADE5E17D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CA68F99E-F80E-0B07-32C9-0FBDD96DDBEE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E20737-996C-57B8-1AB5-A8CEC453736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9DCE37C-B201-72F9-41CF-6D638AF605B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1BB5E749-B81E-E205-147E-856476A61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0938" y="1449388"/>
            <a:ext cx="3973512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16413FB-3551-31B4-608F-ADC1640A6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00938" y="2446584"/>
            <a:ext cx="397351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794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imag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86A6510-F2BB-03C8-B464-7D75C127D8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12192000" cy="2675694"/>
          </a:xfrm>
          <a:prstGeom prst="rect">
            <a:avLst/>
          </a:prstGeom>
          <a:solidFill>
            <a:srgbClr val="007A5F">
              <a:alpha val="90000"/>
            </a:srgb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39EC09-F8E8-0145-EA7C-09864D035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40000" y="-1"/>
            <a:ext cx="108000" cy="2880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839E55-B691-FA14-90A8-096817BD8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FB062EF7-4CAA-2EE7-526B-9EE3E3E166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761EDA7C-6520-260D-F6D3-87F0FFDE623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275388" y="6480000"/>
            <a:ext cx="4833978" cy="1231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4154EF-0503-5415-B271-3D39DD959647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62962BE-014C-9104-48D1-BC7804E47E85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1C7C3D-A9FF-C131-879B-7C880E471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0" y="1089026"/>
            <a:ext cx="8952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DB246EA-5655-C6DE-0909-B2C92AE55D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00225" y="2077417"/>
            <a:ext cx="895191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06151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74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imag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2A573B81-C1A9-BEBC-C8B6-31532849B7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9" y="760977"/>
            <a:ext cx="5909494" cy="2668023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875C6-4468-ED5D-851F-96AC8BEE7B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028472" y="6480000"/>
            <a:ext cx="7056000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0" y="0"/>
            <a:ext cx="108000" cy="27432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1E3DA-06B6-EB4C-0865-1B2783081FC9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D189E08-C4DC-200E-E877-3537AE40A672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68FD12-500E-C4A2-F7C6-7AFEA2ED6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000" y="1104752"/>
            <a:ext cx="4628972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3C911C0-92EE-DFA1-DE47-D98A9CDABB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2525" y="2101850"/>
            <a:ext cx="462915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26381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colou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1B6BDC9-7987-1AC3-2103-86A2AD259B74}"/>
              </a:ext>
            </a:extLst>
          </p:cNvPr>
          <p:cNvSpPr/>
          <p:nvPr userDrawn="1"/>
        </p:nvSpPr>
        <p:spPr>
          <a:xfrm>
            <a:off x="0" y="0"/>
            <a:ext cx="4690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487C49-76B3-71C8-4614-9F96F84018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E59C2-372C-FB1A-95F0-E59DE57680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 descr="ERM logo">
            <a:extLst>
              <a:ext uri="{FF2B5EF4-FFF2-40B4-BE49-F238E27FC236}">
                <a16:creationId xmlns:a16="http://schemas.microsoft.com/office/drawing/2014/main" id="{A63BA5E6-7243-2B7C-3739-57020D3E75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7535" y="198928"/>
            <a:ext cx="660506" cy="79505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87BAB65-F5F7-1527-4449-D3A2E1F9250A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bg1"/>
                </a:solidFill>
              </a:rPr>
              <a:t>www.erm.com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3CDADAE-3E58-1C8D-8E6D-9648C8AEC6C3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9DAB750-A228-90BC-E9EA-515EDB1058F2}"/>
              </a:ext>
            </a:extLst>
          </p:cNvPr>
          <p:cNvGrpSpPr/>
          <p:nvPr userDrawn="1"/>
        </p:nvGrpSpPr>
        <p:grpSpPr>
          <a:xfrm>
            <a:off x="4909922" y="9525"/>
            <a:ext cx="144000" cy="6876000"/>
            <a:chOff x="5280312" y="0"/>
            <a:chExt cx="144000" cy="6876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F11415B-1A74-E20C-053A-0DDBB63FDAF9}"/>
                </a:ext>
              </a:extLst>
            </p:cNvPr>
            <p:cNvSpPr/>
            <p:nvPr userDrawn="1"/>
          </p:nvSpPr>
          <p:spPr>
            <a:xfrm>
              <a:off x="5280312" y="0"/>
              <a:ext cx="144000" cy="208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0A5A3FF-FB7C-4A5F-569C-D483FE061F53}"/>
                </a:ext>
              </a:extLst>
            </p:cNvPr>
            <p:cNvSpPr/>
            <p:nvPr userDrawn="1"/>
          </p:nvSpPr>
          <p:spPr>
            <a:xfrm>
              <a:off x="5280312" y="2240643"/>
              <a:ext cx="144000" cy="313199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6641DBC-B3F5-2557-656E-884A1DAB41C1}"/>
                </a:ext>
              </a:extLst>
            </p:cNvPr>
            <p:cNvSpPr/>
            <p:nvPr userDrawn="1"/>
          </p:nvSpPr>
          <p:spPr>
            <a:xfrm>
              <a:off x="5280312" y="5472000"/>
              <a:ext cx="144000" cy="140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04F41DE0-E8F4-E1FE-C8EC-BBB4099C8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457325"/>
            <a:ext cx="5378450" cy="9971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082B6F7-C768-C367-93CB-7DC59BC32A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2465063"/>
            <a:ext cx="5376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2pPr>
              <a:defRPr b="0"/>
            </a:lvl2pPr>
          </a:lstStyle>
          <a:p>
            <a:pPr lvl="1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3269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2" orient="horz" pos="91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 colou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1D525C-AD5C-29A4-8AC9-89F8DD88E7ED}"/>
              </a:ext>
            </a:extLst>
          </p:cNvPr>
          <p:cNvSpPr/>
          <p:nvPr userDrawn="1"/>
        </p:nvSpPr>
        <p:spPr>
          <a:xfrm>
            <a:off x="7500938" y="18000"/>
            <a:ext cx="469106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487C49-76B3-71C8-4614-9F96F84018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E59C2-372C-FB1A-95F0-E59DE57680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E4A495B-01C6-5A25-4396-C11E1DB249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4F3DAEB-8BF6-1DB9-B2F7-6A2E4BE3D69B}"/>
              </a:ext>
            </a:extLst>
          </p:cNvPr>
          <p:cNvGrpSpPr/>
          <p:nvPr userDrawn="1"/>
        </p:nvGrpSpPr>
        <p:grpSpPr>
          <a:xfrm>
            <a:off x="7111405" y="0"/>
            <a:ext cx="144000" cy="6876000"/>
            <a:chOff x="5280312" y="0"/>
            <a:chExt cx="144000" cy="6876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DA7CFF-EA0C-92D0-47CB-F9F6820E5FD9}"/>
                </a:ext>
              </a:extLst>
            </p:cNvPr>
            <p:cNvSpPr/>
            <p:nvPr userDrawn="1"/>
          </p:nvSpPr>
          <p:spPr>
            <a:xfrm>
              <a:off x="5280312" y="0"/>
              <a:ext cx="144000" cy="208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3423DB-FDCD-EE11-DABB-72DA0DBBEF58}"/>
                </a:ext>
              </a:extLst>
            </p:cNvPr>
            <p:cNvSpPr/>
            <p:nvPr userDrawn="1"/>
          </p:nvSpPr>
          <p:spPr>
            <a:xfrm>
              <a:off x="5280312" y="2240643"/>
              <a:ext cx="144000" cy="313199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6A658E-E5DC-EF8F-D776-4E728FAA8766}"/>
                </a:ext>
              </a:extLst>
            </p:cNvPr>
            <p:cNvSpPr/>
            <p:nvPr userDrawn="1"/>
          </p:nvSpPr>
          <p:spPr>
            <a:xfrm>
              <a:off x="5280312" y="5472000"/>
              <a:ext cx="144000" cy="140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00E6DF83-3450-6683-1919-5BFF3F2CA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090804"/>
            <a:ext cx="504031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71BB441E-620A-C4B1-6CF0-F720763DAC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5687" y="2088000"/>
            <a:ext cx="504031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2pPr>
              <a:defRPr b="0"/>
            </a:lvl2pPr>
          </a:lstStyle>
          <a:p>
            <a:pPr lvl="1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6903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pos="4725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D15CF-6922-4E9F-9BF9-215BEC21F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FC8477-7EFF-4B72-914E-3F5AD3C3B8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56000" y="6462001"/>
            <a:ext cx="2142485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0B407F-0B21-471D-9D94-5B948A7E7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0000" y="6462001"/>
            <a:ext cx="7056000" cy="25549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3E5C0-A919-43DA-B5DA-A83751EC5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62001"/>
            <a:ext cx="342898" cy="25549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39745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ADED0-5494-4E9A-94F7-6B260B14F3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93460E-3D90-48F8-B340-E76B48F4FB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744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701" y="1798639"/>
            <a:ext cx="5340349" cy="4319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798637"/>
            <a:ext cx="5340350" cy="4319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4E3602-3934-40B7-9E07-AFA752DD59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9FA87A-D865-4A2D-B4E7-4C67B3AAC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EDC9C7-182D-4954-93B8-49D2E1FCC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79583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273CDE-E03E-4A95-98D9-8327D17C3F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A2DD1F-C590-49CD-8EC3-66B915D84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A642CD-41E3-4C2B-BB30-5A8140B1A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eeform: Shape 9">
            <a:extLst>
              <a:ext uri="{FF2B5EF4-FFF2-40B4-BE49-F238E27FC236}">
                <a16:creationId xmlns:a16="http://schemas.microsoft.com/office/drawing/2014/main" id="{0C1AEFF4-DEEB-4676-BE49-5C79B8F36001}"/>
              </a:ext>
            </a:extLst>
          </p:cNvPr>
          <p:cNvSpPr/>
          <p:nvPr userDrawn="1"/>
        </p:nvSpPr>
        <p:spPr>
          <a:xfrm>
            <a:off x="647699" y="288000"/>
            <a:ext cx="10896600" cy="1152000"/>
          </a:xfrm>
          <a:custGeom>
            <a:avLst/>
            <a:gdLst>
              <a:gd name="connsiteX0" fmla="*/ 0 w 10905565"/>
              <a:gd name="connsiteY0" fmla="*/ 376518 h 376518"/>
              <a:gd name="connsiteX1" fmla="*/ 0 w 10905565"/>
              <a:gd name="connsiteY1" fmla="*/ 0 h 376518"/>
              <a:gd name="connsiteX2" fmla="*/ 10905565 w 10905565"/>
              <a:gd name="connsiteY2" fmla="*/ 0 h 37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565" h="376518">
                <a:moveTo>
                  <a:pt x="0" y="376518"/>
                </a:moveTo>
                <a:lnTo>
                  <a:pt x="0" y="0"/>
                </a:lnTo>
                <a:lnTo>
                  <a:pt x="10905565" y="0"/>
                </a:lnTo>
              </a:path>
            </a:pathLst>
          </a:cu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87350"/>
            <a:ext cx="9419362" cy="10526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reeform: Shape 10">
            <a:extLst>
              <a:ext uri="{FF2B5EF4-FFF2-40B4-BE49-F238E27FC236}">
                <a16:creationId xmlns:a16="http://schemas.microsoft.com/office/drawing/2014/main" id="{B5AB4FEF-AB48-4942-9A32-58ABA7599C3C}"/>
              </a:ext>
            </a:extLst>
          </p:cNvPr>
          <p:cNvSpPr/>
          <p:nvPr userDrawn="1"/>
        </p:nvSpPr>
        <p:spPr>
          <a:xfrm>
            <a:off x="647698" y="6411600"/>
            <a:ext cx="10896600" cy="144000"/>
          </a:xfrm>
          <a:custGeom>
            <a:avLst/>
            <a:gdLst>
              <a:gd name="connsiteX0" fmla="*/ 0 w 10905565"/>
              <a:gd name="connsiteY0" fmla="*/ 376518 h 376518"/>
              <a:gd name="connsiteX1" fmla="*/ 0 w 10905565"/>
              <a:gd name="connsiteY1" fmla="*/ 0 h 376518"/>
              <a:gd name="connsiteX2" fmla="*/ 10905565 w 10905565"/>
              <a:gd name="connsiteY2" fmla="*/ 0 h 37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05565" h="376518">
                <a:moveTo>
                  <a:pt x="0" y="376518"/>
                </a:moveTo>
                <a:lnTo>
                  <a:pt x="0" y="0"/>
                </a:lnTo>
                <a:lnTo>
                  <a:pt x="10905565" y="0"/>
                </a:lnTo>
              </a:path>
            </a:pathLst>
          </a:cu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43746B-0224-44DF-AF40-79E2F3ECCB38}"/>
              </a:ext>
            </a:extLst>
          </p:cNvPr>
          <p:cNvSpPr txBox="1"/>
          <p:nvPr userDrawn="1"/>
        </p:nvSpPr>
        <p:spPr>
          <a:xfrm>
            <a:off x="720000" y="6462000"/>
            <a:ext cx="712694" cy="2554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/>
              <a:t>www.erm.com</a:t>
            </a:r>
          </a:p>
        </p:txBody>
      </p:sp>
    </p:spTree>
    <p:extLst>
      <p:ext uri="{BB962C8B-B14F-4D97-AF65-F5344CB8AC3E}">
        <p14:creationId xmlns:p14="http://schemas.microsoft.com/office/powerpoint/2010/main" val="4011770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1122CAF-957F-4208-A144-79D082A30F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2"/>
            <a:ext cx="12192000" cy="68580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37C8D90-D929-B904-BE2B-0120A9D4DBA5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645298" y="6423948"/>
            <a:ext cx="2880000" cy="287785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t="-143430"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816A8A7-82A3-30BE-4717-93D535064E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10150" y="1902599"/>
            <a:ext cx="3781850" cy="1800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C3B8F6-2109-9C80-DB89-E9B272DF60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60590" y="2400456"/>
            <a:ext cx="2974609" cy="3323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ontact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2A18142-8D2B-59AD-C189-B7F973259A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60590" y="2806427"/>
            <a:ext cx="297460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err="1"/>
              <a:t>xxx@ern.com</a:t>
            </a:r>
            <a:endParaRPr lang="en-GB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9191DC5-16F0-39A2-A490-19EFEC9C17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690459" y="5359179"/>
            <a:ext cx="1166579" cy="1498821"/>
          </a:xfrm>
          <a:prstGeom prst="rect">
            <a:avLst/>
          </a:prstGeom>
          <a:solidFill>
            <a:schemeClr val="tx2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327FA748-AA4E-8C38-5BB1-306E7BC12F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15200" y="5605200"/>
            <a:ext cx="720000" cy="972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746253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D3E5C0-A919-43DA-B5DA-A83751EC5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88173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1BADED0-5494-4E9A-94F7-6B260B14F3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1981" y="1483519"/>
            <a:ext cx="10972800" cy="46862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46469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mmy layout DO NO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508652D-9796-56BE-110F-098FBD164735}"/>
              </a:ext>
            </a:extLst>
          </p:cNvPr>
          <p:cNvSpPr txBox="1"/>
          <p:nvPr userDrawn="1"/>
        </p:nvSpPr>
        <p:spPr>
          <a:xfrm>
            <a:off x="1866900" y="2362200"/>
            <a:ext cx="5457825" cy="164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/>
              <a:t>PLACEHOLDER SLIDE – DO NOT USE!</a:t>
            </a:r>
          </a:p>
        </p:txBody>
      </p:sp>
    </p:spTree>
    <p:extLst>
      <p:ext uri="{BB962C8B-B14F-4D97-AF65-F5344CB8AC3E}">
        <p14:creationId xmlns:p14="http://schemas.microsoft.com/office/powerpoint/2010/main" val="76494962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07ECE-AE74-3B5F-42B1-C1B9B0C3F85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4EC624-27D4-F8DC-8B88-2B7AA3C9C9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8D4C907-091D-F0EE-7D8E-64875C6878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01576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conten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0906C-A931-4122-872F-7DE51204E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EC871D-AD3A-45F6-9C43-6EEB11B16E53}"/>
              </a:ext>
            </a:extLst>
          </p:cNvPr>
          <p:cNvSpPr/>
          <p:nvPr userDrawn="1"/>
        </p:nvSpPr>
        <p:spPr>
          <a:xfrm>
            <a:off x="0" y="1449387"/>
            <a:ext cx="12191999" cy="46688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54AAE50-5A1C-16B7-1788-AADB880295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9419363" cy="394923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E213B54-DC13-37CF-7914-63473FE3F1B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2DFF8F-650A-3BEE-12F7-B96C06D6C51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4935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5199063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628775"/>
            <a:ext cx="5196611" cy="448944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8449C37-80B8-4315-7422-C0F260F5D70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B3A7A0-16D3-B2D5-6B2D-B2B8B30DC6C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97768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onten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841E90F-9638-79C0-D3A8-82DA163EDFE1}"/>
              </a:ext>
            </a:extLst>
          </p:cNvPr>
          <p:cNvSpPr/>
          <p:nvPr userDrawn="1"/>
        </p:nvSpPr>
        <p:spPr>
          <a:xfrm>
            <a:off x="6096000" y="0"/>
            <a:ext cx="6095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628775"/>
            <a:ext cx="5199063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6B0BDD-9AAA-4595-9F4C-73A0AA2B0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628775"/>
            <a:ext cx="5196611" cy="448944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8449C37-80B8-4315-7422-C0F260F5D70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8B3A7A0-16D3-B2D5-6B2D-B2B8B30DC6C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RM logo">
            <a:extLst>
              <a:ext uri="{FF2B5EF4-FFF2-40B4-BE49-F238E27FC236}">
                <a16:creationId xmlns:a16="http://schemas.microsoft.com/office/drawing/2014/main" id="{08BEC3FD-D033-02BF-3208-2DFE3625F8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7535" y="198928"/>
            <a:ext cx="660506" cy="79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00839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2" y="1628775"/>
            <a:ext cx="5196612" cy="44894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7096BC9-322C-4311-8C7E-1006AE6E63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1628776"/>
            <a:ext cx="5199062" cy="44894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C5F5C-9C35-D567-3CE2-09A80F4AA1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C2C32F-3340-19FC-48F1-D5A3E4A973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25637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4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60FEE8B-DAE4-1786-7029-58B9A8C3EA23}"/>
              </a:ext>
            </a:extLst>
          </p:cNvPr>
          <p:cNvSpPr/>
          <p:nvPr userDrawn="1"/>
        </p:nvSpPr>
        <p:spPr>
          <a:xfrm>
            <a:off x="6275388" y="0"/>
            <a:ext cx="502303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0F5268-BFD6-4052-8DEA-172742ED7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AA079-9C91-4B2A-8595-B39FC5BA46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2" y="1628775"/>
            <a:ext cx="5196612" cy="4491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7096BC9-322C-4311-8C7E-1006AE6E63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39655" y="1628775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3A99C1CE-AD61-4C9E-9CEB-98A1A18B1F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68855" y="1628775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0B670FA-8F68-422E-8F6E-1BE721EEBB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68855" y="4068000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B027EA1-9A13-474A-B6EF-BD98923BDF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39473" y="4068000"/>
            <a:ext cx="2052000" cy="2052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C6AFE0-4A21-54A8-1736-A94CD9C3D9A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3CE3DA-BCAB-E80F-8411-0D66A7D7F5A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544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0906C-A931-4122-872F-7DE51204E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D8409BB-B9EB-4EAC-9110-1DE60201DA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550" y="1628776"/>
            <a:ext cx="10754450" cy="448945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D55E9A-A34B-0DAF-CCD8-DE7857C9D5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A9506A-32D9-217A-2D4F-8F880ACC838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6792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4B347-73BD-41A4-8FA7-7FBDFB324A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40000" y="387350"/>
            <a:ext cx="4704300" cy="1700650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DAB893-EB02-4098-9292-09391239F6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40000" y="2358000"/>
            <a:ext cx="4704300" cy="158198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3DE9A3-5AB7-4502-A89A-14D92487F1BF}"/>
              </a:ext>
            </a:extLst>
          </p:cNvPr>
          <p:cNvSpPr txBox="1"/>
          <p:nvPr userDrawn="1"/>
        </p:nvSpPr>
        <p:spPr>
          <a:xfrm>
            <a:off x="6840000" y="4096800"/>
            <a:ext cx="4704298" cy="403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GB" sz="600">
              <a:solidFill>
                <a:schemeClr val="tx1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9F103DC-EE5D-4BA0-BE78-6FE1E39E96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480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9A8441-F77E-4E46-AF50-73165A96B27F}"/>
              </a:ext>
            </a:extLst>
          </p:cNvPr>
          <p:cNvSpPr txBox="1"/>
          <p:nvPr userDrawn="1"/>
        </p:nvSpPr>
        <p:spPr>
          <a:xfrm>
            <a:off x="6822899" y="6173047"/>
            <a:ext cx="3299363" cy="41673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l"/>
            <a:r>
              <a:rPr lang="en-GB" sz="1200" i="1">
                <a:solidFill>
                  <a:schemeClr val="bg2"/>
                </a:solidFill>
              </a:rPr>
              <a:t>The business of sustainabilit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A8EE293-1958-4B94-8FB7-B3FFFFC3F2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2800" y="5857754"/>
            <a:ext cx="540000" cy="6978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3DE9A3-5AB7-4502-A89A-14D92487F1BF}"/>
              </a:ext>
            </a:extLst>
          </p:cNvPr>
          <p:cNvSpPr txBox="1"/>
          <p:nvPr userDrawn="1"/>
        </p:nvSpPr>
        <p:spPr>
          <a:xfrm>
            <a:off x="6840000" y="5612821"/>
            <a:ext cx="3456000" cy="5054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00">
                <a:solidFill>
                  <a:schemeClr val="tx1"/>
                </a:solidFill>
              </a:rPr>
              <a:t>© Copyright 2022 by The ERM International Group Limited and/or its affiliates (‘ERM’). All Rights Reserved. No part of this work may be reproduced or transmitted in any form or by any means, without prior written permission of ERM.</a:t>
            </a:r>
          </a:p>
        </p:txBody>
      </p:sp>
    </p:spTree>
    <p:extLst>
      <p:ext uri="{BB962C8B-B14F-4D97-AF65-F5344CB8AC3E}">
        <p14:creationId xmlns:p14="http://schemas.microsoft.com/office/powerpoint/2010/main" val="327183577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7600" cy="666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55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26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2399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74775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4399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8000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2865" y="2112788"/>
            <a:ext cx="568800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200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797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60000"/>
            <a:ext cx="9417600" cy="65857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44883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4883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8077783-B591-7A17-C51C-447733FC98BD}"/>
              </a:ext>
            </a:extLst>
          </p:cNvPr>
          <p:cNvCxnSpPr>
            <a:cxnSpLocks/>
          </p:cNvCxnSpPr>
          <p:nvPr userDrawn="1"/>
        </p:nvCxnSpPr>
        <p:spPr>
          <a:xfrm>
            <a:off x="6102538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A60753A-BAB7-D12D-2404-68517A3D5688}"/>
              </a:ext>
            </a:extLst>
          </p:cNvPr>
          <p:cNvCxnSpPr>
            <a:cxnSpLocks/>
          </p:cNvCxnSpPr>
          <p:nvPr userDrawn="1"/>
        </p:nvCxnSpPr>
        <p:spPr>
          <a:xfrm>
            <a:off x="3367637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5A18FE8-FF2D-2D22-612A-5DD9D547A19E}"/>
              </a:ext>
            </a:extLst>
          </p:cNvPr>
          <p:cNvCxnSpPr>
            <a:cxnSpLocks/>
          </p:cNvCxnSpPr>
          <p:nvPr userDrawn="1"/>
        </p:nvCxnSpPr>
        <p:spPr>
          <a:xfrm>
            <a:off x="8837440" y="2267637"/>
            <a:ext cx="0" cy="2880000"/>
          </a:xfrm>
          <a:prstGeom prst="straightConnector1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14486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94486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74450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54450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11074" y="2267637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91074" y="2267637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2926161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97432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5BEEFC8-5C4B-887F-4FC8-CE01F1F581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2064496"/>
            <a:ext cx="12192000" cy="331144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3150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7153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92753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67117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52717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741" y="2299436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9341" y="2299436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2957960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67516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07ECE-AE74-3B5F-42B1-C1B9B0C3F85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4EC624-27D4-F8DC-8B88-2B7AA3C9C9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C0210E-CEC3-9B67-DDF4-9661577259F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11200" y="1628775"/>
            <a:ext cx="10760075" cy="4489450"/>
          </a:xfrm>
        </p:spPr>
        <p:txBody>
          <a:bodyPr/>
          <a:lstStyle/>
          <a:p>
            <a:pPr lvl="0"/>
            <a:r>
              <a:rPr lang="en-GB"/>
              <a:t>Click Table or Chart icon for op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0598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92C801-F31C-D8CF-7065-50C49B2BF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FBA089-925D-9BA5-6029-7B6E2A72DF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4800" y="6480000"/>
            <a:ext cx="4834800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</p:spTree>
    <p:extLst>
      <p:ext uri="{BB962C8B-B14F-4D97-AF65-F5344CB8AC3E}">
        <p14:creationId xmlns:p14="http://schemas.microsoft.com/office/powerpoint/2010/main" val="28408066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FBA089-925D-9BA5-6029-7B6E2A72DF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4800" y="6480000"/>
            <a:ext cx="4834800" cy="123111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1322DF-0085-7BEC-B3C2-66BA1F89FD5E}"/>
              </a:ext>
            </a:extLst>
          </p:cNvPr>
          <p:cNvSpPr/>
          <p:nvPr userDrawn="1"/>
        </p:nvSpPr>
        <p:spPr>
          <a:xfrm>
            <a:off x="0" y="0"/>
            <a:ext cx="5916613" cy="1449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11313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+ colou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1D525C-AD5C-29A4-8AC9-89F8DD88E7ED}"/>
              </a:ext>
            </a:extLst>
          </p:cNvPr>
          <p:cNvSpPr/>
          <p:nvPr userDrawn="1"/>
        </p:nvSpPr>
        <p:spPr>
          <a:xfrm>
            <a:off x="7500938" y="18000"/>
            <a:ext cx="469106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487C49-76B3-71C8-4614-9F96F840188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FE59C2-372C-FB1A-95F0-E59DE576806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3E4A495B-01C6-5A25-4396-C11E1DB249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4F3DAEB-8BF6-1DB9-B2F7-6A2E4BE3D69B}"/>
              </a:ext>
            </a:extLst>
          </p:cNvPr>
          <p:cNvGrpSpPr/>
          <p:nvPr userDrawn="1"/>
        </p:nvGrpSpPr>
        <p:grpSpPr>
          <a:xfrm>
            <a:off x="7111405" y="0"/>
            <a:ext cx="144000" cy="6876000"/>
            <a:chOff x="5280312" y="0"/>
            <a:chExt cx="144000" cy="6876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8DA7CFF-EA0C-92D0-47CB-F9F6820E5FD9}"/>
                </a:ext>
              </a:extLst>
            </p:cNvPr>
            <p:cNvSpPr/>
            <p:nvPr userDrawn="1"/>
          </p:nvSpPr>
          <p:spPr>
            <a:xfrm>
              <a:off x="5280312" y="0"/>
              <a:ext cx="144000" cy="208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C3423DB-FDCD-EE11-DABB-72DA0DBBEF58}"/>
                </a:ext>
              </a:extLst>
            </p:cNvPr>
            <p:cNvSpPr/>
            <p:nvPr userDrawn="1"/>
          </p:nvSpPr>
          <p:spPr>
            <a:xfrm>
              <a:off x="5280312" y="2240643"/>
              <a:ext cx="144000" cy="313199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6A658E-E5DC-EF8F-D776-4E728FAA8766}"/>
                </a:ext>
              </a:extLst>
            </p:cNvPr>
            <p:cNvSpPr/>
            <p:nvPr userDrawn="1"/>
          </p:nvSpPr>
          <p:spPr>
            <a:xfrm>
              <a:off x="5280312" y="5472000"/>
              <a:ext cx="144000" cy="1404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00E6DF83-3450-6683-1919-5BFF3F2CA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090804"/>
            <a:ext cx="504031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71BB441E-620A-C4B1-6CF0-F720763DAC7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5687" y="2088000"/>
            <a:ext cx="504031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2pPr>
              <a:defRPr b="0"/>
            </a:lvl2pPr>
          </a:lstStyle>
          <a:p>
            <a:pPr lvl="1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9668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0C336B-3A73-AAFA-6B75-C4F2A1FFDA3A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513BF10-0B2D-7C64-0C16-F981C837E9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9945"/>
            <a:ext cx="1540800" cy="1843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7217EB8-6E9C-7980-0258-19A4F42EB8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91999" y="1809945"/>
            <a:ext cx="3324614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523F378-2F96-1912-E903-B891A7E69C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809945"/>
            <a:ext cx="5199062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93011B-D027-CAAB-E0CC-71B7263F55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1200" y="3767481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F6C404A-7C41-19B3-F939-C80672F005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4364303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F2B15FB-4652-13C6-3780-D64E4DF15F0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11200" y="4612909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3970384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F82EC27-44EE-DCC2-265E-5586FECCF277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A8516CC7-9416-B793-F3DD-C100B894FB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7224520-BA93-D5AF-C8CE-6142E8E27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916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F09E23C-506F-9D64-6551-64E1514912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67907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88028E4-6818-D6B0-B663-69C464E449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67907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A76C26C-A524-9F81-9376-AEA5D3DA5ED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2267907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C9236BFA-AD9C-1D9D-5FE7-0509F31610EB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8394016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B16875A3-F07A-65B6-1378-68F04B871C51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83931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3E0CA99-6F56-3C06-B5E1-DBE906AC2C9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9941922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9F09AD6-1580-34D8-4CA5-6A5067191FE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941922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49771EF-4DE4-E3EA-B882-883BA24023B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941922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9AA3689F-1F30-4B9C-7E88-A2C04D9B0312}"/>
              </a:ext>
            </a:extLst>
          </p:cNvPr>
          <p:cNvSpPr>
            <a:spLocks noGrp="1"/>
          </p:cNvSpPr>
          <p:nvPr>
            <p:ph type="pic" sz="quarter" idx="101"/>
          </p:nvPr>
        </p:nvSpPr>
        <p:spPr>
          <a:xfrm>
            <a:off x="4493347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9B3D8BB0-B5A2-1535-A853-C59A738371BF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4483262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AF34117-F6D0-4604-4228-EE4758CCF4A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6041253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EB35516-EB72-517B-B83B-3C8CB3D57F3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6041253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011EB0B-93B9-385A-2655-62F9FC35D59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041253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16329407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8D91A809-FACF-B437-E3D2-9C6DA4B2D2CC}"/>
              </a:ext>
            </a:extLst>
          </p:cNvPr>
          <p:cNvSpPr/>
          <p:nvPr userDrawn="1"/>
        </p:nvSpPr>
        <p:spPr>
          <a:xfrm>
            <a:off x="0" y="1449388"/>
            <a:ext cx="12192000" cy="4881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C8C11-D43A-A1E1-5DB6-B31C5791B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9576D7-66C7-11FA-4636-D04223433F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D8690-1445-5800-70C5-FB428ABA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Picture Placeholder 192">
            <a:extLst>
              <a:ext uri="{FF2B5EF4-FFF2-40B4-BE49-F238E27FC236}">
                <a16:creationId xmlns:a16="http://schemas.microsoft.com/office/drawing/2014/main" id="{1DDCB019-D3A4-ED5A-7F13-375895AD33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223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EE530E1-742A-3F74-8F5D-985C33AE37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E721A5F-38F0-5984-9169-2A99AF2B0C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B4FF2F4-E7BA-2354-CC72-9C7AF789F2B3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2000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100CE9-6E39-FED1-7EAD-376BDCFC2407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2000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Picture Placeholder 192">
            <a:extLst>
              <a:ext uri="{FF2B5EF4-FFF2-40B4-BE49-F238E27FC236}">
                <a16:creationId xmlns:a16="http://schemas.microsoft.com/office/drawing/2014/main" id="{82C70FA0-73CE-D74A-3D4E-768D593797C1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27657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714F169-097B-28F8-C99B-1777D54774C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5835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69B24DF-9045-2A6A-E37A-048D28D108B8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5835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4AE83D0-C947-AA58-C5C1-DE61B61C7DE7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25835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6DD045-D951-AE39-4745-6EE6EB039B6A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25835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5" name="Picture Placeholder 192">
            <a:extLst>
              <a:ext uri="{FF2B5EF4-FFF2-40B4-BE49-F238E27FC236}">
                <a16:creationId xmlns:a16="http://schemas.microsoft.com/office/drawing/2014/main" id="{6337D75E-0E05-3230-A3EB-AB17D4447034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4652430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8EE87E7-BB54-21AD-7D66-5D0E2BD53154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4470197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B87D51-B144-28FC-E48F-FC54A816545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470197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423F9DA-30E8-DABB-FA9C-ADFE960B67A4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470197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7D6280-F93F-A74E-1D54-31FB55119B6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470197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0" name="Picture Placeholder 192">
            <a:extLst>
              <a:ext uri="{FF2B5EF4-FFF2-40B4-BE49-F238E27FC236}">
                <a16:creationId xmlns:a16="http://schemas.microsoft.com/office/drawing/2014/main" id="{D9C0BD39-9F31-F4C0-427C-92F217355FD0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64696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0566EA-8C74-D249-98F2-2884911D31DD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874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370FE49-4D44-F248-236E-CF91DD6FBA3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2874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6F66A73-5991-9696-9FA9-18822629BD9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2874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F279D23-355A-6F63-768D-D949401C191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2874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5" name="Picture Placeholder 192">
            <a:extLst>
              <a:ext uri="{FF2B5EF4-FFF2-40B4-BE49-F238E27FC236}">
                <a16:creationId xmlns:a16="http://schemas.microsoft.com/office/drawing/2014/main" id="{4D2307F6-BD6F-8B6F-F323-51191E9C4630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8333179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00DF51-2363-6B6E-0BB3-24E9F8999FC9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150946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0102495-CAF9-80C6-FBE2-6C1B304DCAA3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8150946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EDB4C3-14FC-1E46-8133-02310C83E237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8150946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344F29F-3C2A-1BC6-B0FC-E2FBDAC55FBB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150946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0" name="Picture Placeholder 192">
            <a:extLst>
              <a:ext uri="{FF2B5EF4-FFF2-40B4-BE49-F238E27FC236}">
                <a16:creationId xmlns:a16="http://schemas.microsoft.com/office/drawing/2014/main" id="{EF99C791-5B82-2094-B20B-AB854C1F0DEC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1021985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AA844A7-F36D-0EEE-EA68-3F090558F8B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1003762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89A6EFE-1966-07A1-2B3C-683E15643C7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003762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CF63A3B-8910-4FD7-F353-2D4A2C123ACB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003762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134E6F1-529C-8808-1F2E-235B1495B7EA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1003762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5" name="Picture Placeholder 192">
            <a:extLst>
              <a:ext uri="{FF2B5EF4-FFF2-40B4-BE49-F238E27FC236}">
                <a16:creationId xmlns:a16="http://schemas.microsoft.com/office/drawing/2014/main" id="{DBC7F2A6-54A8-28E8-A710-572978C3AE3E}"/>
              </a:ext>
            </a:extLst>
          </p:cNvPr>
          <p:cNvSpPr>
            <a:spLocks noGrp="1"/>
          </p:cNvSpPr>
          <p:nvPr>
            <p:ph type="pic" sz="quarter" idx="122" hasCustomPrompt="1"/>
          </p:nvPr>
        </p:nvSpPr>
        <p:spPr>
          <a:xfrm>
            <a:off x="90223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BE1C620-AF50-32B9-285B-9E5534E0B74D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72000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E60EFF8-02FC-3C80-F792-21D9CD2ADC06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72000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D09B84E-DFC7-083D-3A37-E68A80AB7B50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72000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DA545C0-471E-2053-4F35-95ADA1A3A309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72000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0" name="Picture Placeholder 192">
            <a:extLst>
              <a:ext uri="{FF2B5EF4-FFF2-40B4-BE49-F238E27FC236}">
                <a16:creationId xmlns:a16="http://schemas.microsoft.com/office/drawing/2014/main" id="{585AE484-0A7F-D206-C1A9-7BDB7C3E02E1}"/>
              </a:ext>
            </a:extLst>
          </p:cNvPr>
          <p:cNvSpPr>
            <a:spLocks noGrp="1"/>
          </p:cNvSpPr>
          <p:nvPr>
            <p:ph type="pic" sz="quarter" idx="127" hasCustomPrompt="1"/>
          </p:nvPr>
        </p:nvSpPr>
        <p:spPr>
          <a:xfrm>
            <a:off x="27657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5D61A59-9EF3-5A59-AE4D-66E089D51F81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5835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D8A9D09-28A1-24B0-B985-1B2AD63C0A82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25835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898FEBD-EE32-A59D-66FD-EDE4BC401303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25835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21BB3FE-DC70-EF9D-B3DA-7EA859B46E57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25835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5" name="Picture Placeholder 192">
            <a:extLst>
              <a:ext uri="{FF2B5EF4-FFF2-40B4-BE49-F238E27FC236}">
                <a16:creationId xmlns:a16="http://schemas.microsoft.com/office/drawing/2014/main" id="{1788EEA8-ACDD-91A7-47BF-DDD5AD00B94A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652430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BCBBF01-D975-1034-1C79-F233A43B0247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4470197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A158FE-7033-252B-04B9-84A7D5C5AA7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4470197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4526289-86F0-D327-00A0-866CE423BF93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4470197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95B67B2-F740-5154-486B-B2AB2A363637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4470197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" name="Picture Placeholder 192">
            <a:extLst>
              <a:ext uri="{FF2B5EF4-FFF2-40B4-BE49-F238E27FC236}">
                <a16:creationId xmlns:a16="http://schemas.microsoft.com/office/drawing/2014/main" id="{E2F23E85-FF0D-60FC-6FC0-8981AF435D08}"/>
              </a:ext>
            </a:extLst>
          </p:cNvPr>
          <p:cNvSpPr>
            <a:spLocks noGrp="1"/>
          </p:cNvSpPr>
          <p:nvPr>
            <p:ph type="pic" sz="quarter" idx="137" hasCustomPrompt="1"/>
          </p:nvPr>
        </p:nvSpPr>
        <p:spPr>
          <a:xfrm>
            <a:off x="64696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C5855E-1308-E7D1-EA21-D8EDD0F805B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62874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19DDA8-EC67-2FA8-5792-93AFD3B1E172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62874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8AD02F9-0C80-5FEC-5810-591712947A9D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62874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4961B98-ABC4-BBC2-EA29-AE2637CB6925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62874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5" name="Picture Placeholder 192">
            <a:extLst>
              <a:ext uri="{FF2B5EF4-FFF2-40B4-BE49-F238E27FC236}">
                <a16:creationId xmlns:a16="http://schemas.microsoft.com/office/drawing/2014/main" id="{C950E0AD-B08B-14D2-407D-570EC50DEA51}"/>
              </a:ext>
            </a:extLst>
          </p:cNvPr>
          <p:cNvSpPr>
            <a:spLocks noGrp="1"/>
          </p:cNvSpPr>
          <p:nvPr>
            <p:ph type="pic" sz="quarter" idx="142" hasCustomPrompt="1"/>
          </p:nvPr>
        </p:nvSpPr>
        <p:spPr>
          <a:xfrm>
            <a:off x="8333179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F64DC3C-2204-BB53-9422-946D1C0305E1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8150946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ACBAD66-64B7-F722-8BBD-E218E8438257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150946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5606D5-F9AC-1ADB-2306-F49A883E11BC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8150946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FF54DE5-68CA-625C-6E85-215FAE8A0E7A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150946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0" name="Picture Placeholder 192">
            <a:extLst>
              <a:ext uri="{FF2B5EF4-FFF2-40B4-BE49-F238E27FC236}">
                <a16:creationId xmlns:a16="http://schemas.microsoft.com/office/drawing/2014/main" id="{D5B2E7CF-32E9-0FDE-13FF-46A9EE50793C}"/>
              </a:ext>
            </a:extLst>
          </p:cNvPr>
          <p:cNvSpPr>
            <a:spLocks noGrp="1"/>
          </p:cNvSpPr>
          <p:nvPr>
            <p:ph type="pic" sz="quarter" idx="147" hasCustomPrompt="1"/>
          </p:nvPr>
        </p:nvSpPr>
        <p:spPr>
          <a:xfrm>
            <a:off x="1021985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4C57A2A-3F54-E260-830D-0F47E6E6624C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1003762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686DE3A-CAC4-585D-B414-2C794C2F52F4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1003762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FCC427-7F34-F453-9297-6CB2797D0FCE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1003762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9D39DDC-01E1-71BC-595C-CAF818F30024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1003762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92771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(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7"/>
          <a:stretch/>
        </p:blipFill>
        <p:spPr>
          <a:xfrm>
            <a:off x="6481762" y="1697151"/>
            <a:ext cx="5707189" cy="447222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1B79F3A-2055-4125-974A-2A21F70657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40000" y="1047150"/>
            <a:ext cx="4704300" cy="1530000"/>
          </a:xfrm>
        </p:spPr>
        <p:txBody>
          <a:bodyPr anchor="b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E3E8D6F-A55D-4F92-8404-86D5E88BF3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40000" y="2947950"/>
            <a:ext cx="4704300" cy="941425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F65AC061-4716-4E42-8AAD-90D6BD1E44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480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318513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91D5554-C232-CFDD-D0B5-F98F527C8981}"/>
              </a:ext>
            </a:extLst>
          </p:cNvPr>
          <p:cNvSpPr/>
          <p:nvPr userDrawn="1"/>
        </p:nvSpPr>
        <p:spPr>
          <a:xfrm>
            <a:off x="0" y="1655469"/>
            <a:ext cx="12192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0CEBB5-DD40-DE49-13F4-3DD312519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C87F95-C39E-E7B3-6D3B-A63551FC73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9A5DD519-C01F-A2E2-A0C3-C3C3D5992D5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1200" y="1449388"/>
            <a:ext cx="4691062" cy="4668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4148DC73-FB35-F9E5-3ADB-2CDDE5CBAF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16612" y="189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72F48D9-E3E4-FC67-B3F0-C9071BCD30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612" y="189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ABCF8852-4F38-DF88-E8DE-24A25D8B59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16612" y="225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8556BCA-A8CE-E877-4722-A62674EC07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56612" y="225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1722221-D510-1535-C657-4B3305003D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6612" y="261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5910604-9421-11A0-9B3A-95448B269B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56612" y="261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ACD2997-B3A5-4DD3-E072-C56530C194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16612" y="297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BD1FBAF-4E24-BEF7-C204-ACF0139FB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56612" y="297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986A78B7-1172-85EB-E140-DE5B11E865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16612" y="3563999"/>
            <a:ext cx="5555388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DAD8D03-ABE4-D589-D022-A21FCAB9DCF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916612" y="3923469"/>
            <a:ext cx="5580000" cy="2194756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0E6529-5558-DABE-A1C0-180A7A6F1C51}"/>
              </a:ext>
            </a:extLst>
          </p:cNvPr>
          <p:cNvSpPr txBox="1"/>
          <p:nvPr userDrawn="1"/>
        </p:nvSpPr>
        <p:spPr>
          <a:xfrm>
            <a:off x="5775767" y="131951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2B8A55-04FF-C589-04DD-7CC3267F52A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</p:spTree>
    <p:extLst>
      <p:ext uri="{BB962C8B-B14F-4D97-AF65-F5344CB8AC3E}">
        <p14:creationId xmlns:p14="http://schemas.microsoft.com/office/powerpoint/2010/main" val="154855300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90A54F3-B663-E1EC-A608-34D3C28C21AE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6496A09-D5DA-111F-2EB7-317E1248742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1200" y="1449801"/>
            <a:ext cx="5205412" cy="46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t" anchorCtr="0"/>
          <a:lstStyle/>
          <a:p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A51C3C5-F752-088F-A54F-FAC50AB393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20725" y="1449850"/>
            <a:ext cx="5195888" cy="1990725"/>
          </a:xfrm>
          <a:solidFill>
            <a:schemeClr val="accent1">
              <a:alpha val="90000"/>
            </a:scheme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28781-3BCE-F021-213B-25B79DB1F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32A5EDC-7A27-FCD2-6E63-C1F37833DC3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9388" y="169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BFE42739-9E14-E14C-8676-28AD809446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39389" y="169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F5738A2F-0411-B158-8132-070FBE33D58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9388" y="205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43CB63BA-9E19-DD1F-DAC1-E7E359C109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39389" y="205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7DD4E4F-DA33-08E6-3512-4B69BBF62E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388" y="241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037CBAA-892A-7C8F-AEEE-457FF91396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39389" y="241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12B40B4-75CF-2121-C81A-36BB31B4B3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9388" y="2774289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D6914C4-D565-C7E0-343A-419361404D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39389" y="2772514"/>
            <a:ext cx="3388363" cy="21777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AEA80A-6D6C-578C-937D-2CBD58D4D4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89546" y="1683905"/>
            <a:ext cx="5182453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2EDE45E-CB19-DA2B-22CF-EB5FAD93705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91198" y="2043904"/>
            <a:ext cx="5205413" cy="390548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marL="0" lvl="0" indent="0">
              <a:buNone/>
            </a:pPr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CB25B1-0FC0-E065-FF38-0C7C32C09158}"/>
              </a:ext>
            </a:extLst>
          </p:cNvPr>
          <p:cNvSpPr txBox="1"/>
          <p:nvPr userDrawn="1"/>
        </p:nvSpPr>
        <p:spPr>
          <a:xfrm>
            <a:off x="584502" y="16316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C5D669-8BE1-D226-D56C-86B557A9EDC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994DE5-5C88-9AC9-B73C-23B749740F3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418923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B77D9FA3-DA7C-AEA3-C84F-9AE62F0C8CA0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F21790-2016-8C5E-0579-ACC0AC60B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D46F3A02-85CA-E511-7D61-C8F5A597D2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200" y="160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387601E-9E03-C5A9-856A-B1FFCDE949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1200" y="160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A20D34E6-D18D-AFE7-6B1B-92284156ED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200" y="196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2BFBB20-189D-C6B8-2454-56E18275340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1200" y="196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1222CEE-094C-07F2-772A-A14BC36F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00" y="232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EFF613F-A336-FFEE-F7DB-A71FD3DBAD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1200" y="232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75E1B9F-2938-00DA-2E17-E0AC3D1752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268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E371E21-14C6-0308-1DE7-CCB8845218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1200" y="268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8F751FA-B2D2-9DB4-1A97-6030F0594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1200" y="3060000"/>
            <a:ext cx="5555388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63203BA-8412-965B-7F70-0734A43B1D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11200" y="3419999"/>
            <a:ext cx="5580000" cy="269822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5971BC-29CA-4E0E-B2F9-69FFE497554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2BEE176-297F-F9BA-55A6-FE1279672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F7270B8-A4AB-38F3-B043-CBB41877087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7291750-0B2F-561C-7349-A36600FBBFC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18331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E6A37DC-55F1-C020-537F-AB3DEC2944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1947687"/>
            <a:ext cx="12192000" cy="893038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55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26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2399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74775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4399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8000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2865" y="2112788"/>
            <a:ext cx="568800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200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5697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8"/>
            <a:ext cx="12191999" cy="1071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7153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87153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67117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47117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741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3741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37014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9"/>
            <a:ext cx="12191999" cy="62569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600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8600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774452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54452" y="2273013"/>
            <a:ext cx="568800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54452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274800" y="6480000"/>
            <a:ext cx="4833978" cy="123112"/>
          </a:xfr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92F59D-1271-B884-C66B-306E3FF5BE78}"/>
              </a:ext>
            </a:extLst>
          </p:cNvPr>
          <p:cNvSpPr txBox="1"/>
          <p:nvPr userDrawn="1"/>
        </p:nvSpPr>
        <p:spPr>
          <a:xfrm>
            <a:off x="-1232034" y="638154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8124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ighlight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0938" y="0"/>
            <a:ext cx="4691062" cy="6858001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3AEE85D-3E6C-19E4-AA87-4014B2F1333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828005" y="1628776"/>
            <a:ext cx="3646445" cy="44894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7E9DC8D-C4FF-2DC8-D3AC-E966236F0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620212-BC66-F5A3-2F5F-E9E695B6C6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A0914F-AA81-1D04-83A7-B9340FFC5F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5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bo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0CB5498-4B9B-0538-B725-6EC270716FA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4EA4FA-9714-4C08-DA5A-D07DDD18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550" y="358775"/>
            <a:ext cx="6355425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837A713-DDDB-4021-8501-6A52B5F17B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C7C2C7-91DB-03AE-314C-A2FA80FF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628776"/>
            <a:ext cx="6352975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A6D6A4-3630-DB65-AB04-7BF2C82C364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4A0447-2E7B-0757-3F32-6BFE572BB77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050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229475" y="0"/>
            <a:ext cx="49625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0DE0D6-F9EE-AC59-A81E-744256C6A67C}"/>
              </a:ext>
            </a:extLst>
          </p:cNvPr>
          <p:cNvSpPr/>
          <p:nvPr userDrawn="1"/>
        </p:nvSpPr>
        <p:spPr>
          <a:xfrm>
            <a:off x="0" y="0"/>
            <a:ext cx="5916613" cy="1594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0000" y="2176378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1" y="0"/>
            <a:ext cx="108000" cy="27432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EBE34724-EDF1-3058-CEF3-FA28FC8DBB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B3E7C1-9B58-D1C9-DBB5-7EF628CFFA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C2094D-0D26-BAA9-31B3-FD10A98F8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999" y="1092444"/>
            <a:ext cx="4836613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77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34A7AF-D633-0BDF-A35C-1F62AAB8D10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496252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0769" y="2538777"/>
            <a:ext cx="4836613" cy="56682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Aft>
                <a:spcPts val="100"/>
              </a:spcAft>
              <a:defRPr sz="2000" b="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4"/>
                </a:solidFill>
              </a:defRPr>
            </a:lvl2pPr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875C6-4468-ED5D-851F-96AC8BEE7B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274800" y="6480000"/>
            <a:ext cx="4834800" cy="122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880A2-CA98-51AE-98FA-A6B6A5FB4C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1400" y="6480000"/>
            <a:ext cx="270600" cy="123111"/>
          </a:xfrm>
          <a:prstGeom prst="rect">
            <a:avLst/>
          </a:prstGeom>
        </p:spPr>
        <p:txBody>
          <a:bodyPr/>
          <a:lstStyle/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A9599E-E8A3-1DAA-CFF3-E445F2F3DD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34483" y="1089025"/>
            <a:ext cx="3321989" cy="10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DC8FA5-E1F4-4383-1760-0CE7F79D6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0769" y="1449388"/>
            <a:ext cx="4566832" cy="720000"/>
          </a:xfrm>
        </p:spPr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814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pos="47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2368-10B6-43CB-BAB0-9AE4FEADC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699" y="531283"/>
            <a:ext cx="9419362" cy="48471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ADED0-5494-4E9A-94F7-6B260B14F3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699" y="1366837"/>
            <a:ext cx="9491664" cy="4319587"/>
          </a:xfrm>
        </p:spPr>
        <p:txBody>
          <a:bodyPr/>
          <a:lstStyle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653F84-FC26-454D-9131-10DED528E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12063C-9A34-41FE-BD41-DD9A793D09C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667" y="3996266"/>
            <a:ext cx="12361334" cy="227593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11666" y="-33868"/>
            <a:ext cx="12412133" cy="32254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F0B407F-0B21-471D-9D94-5B948A7E7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00000" y="6462001"/>
            <a:ext cx="7056000" cy="255494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808703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imag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86A6510-F2BB-03C8-B464-7D75C127D8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1661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10912-4175-C6E3-59B8-76FA8F599A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5916613" cy="3429000"/>
          </a:xfrm>
          <a:prstGeom prst="rect">
            <a:avLst/>
          </a:prstGeom>
          <a:solidFill>
            <a:srgbClr val="007A5F">
              <a:alpha val="90000"/>
            </a:srgbClr>
          </a:solidFill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D52D1D-FAD3-5FCE-4D33-6FC96E8CE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80000" y="1080000"/>
            <a:ext cx="4320000" cy="1461939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E39EC09-F8E8-0145-EA7C-09864D0353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0"/>
            <a:ext cx="108000" cy="2519363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07E643D-F5F9-A86D-7E12-5E52FEFE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8" y="1628776"/>
            <a:ext cx="5196611" cy="4489450"/>
          </a:xfrm>
          <a:prstGeom prst="rect">
            <a:avLst/>
          </a:prstGeom>
        </p:spPr>
        <p:txBody>
          <a:bodyPr/>
          <a:lstStyle>
            <a:lvl4pPr>
              <a:buClr>
                <a:schemeClr val="tx1"/>
              </a:buClr>
              <a:defRPr/>
            </a:lvl4pPr>
            <a:lvl5pPr marL="806450" indent="-266700">
              <a:buClr>
                <a:schemeClr val="accent4"/>
              </a:buClr>
              <a:buFont typeface=".Hiragino Kaku Gothic Interface W3"/>
              <a:buChar char="◻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074E42-12F2-5043-E09B-B83129388FD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BB3D09-0939-1E5A-0D08-094BEF41071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0FFD13-5869-4A6E-DBFF-93BE803E3CCB}"/>
              </a:ext>
            </a:extLst>
          </p:cNvPr>
          <p:cNvSpPr txBox="1"/>
          <p:nvPr userDrawn="1"/>
        </p:nvSpPr>
        <p:spPr>
          <a:xfrm>
            <a:off x="717550" y="6480000"/>
            <a:ext cx="71269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1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7B23B69-7424-172D-1B61-ABADF08919A3}"/>
              </a:ext>
            </a:extLst>
          </p:cNvPr>
          <p:cNvSpPr txBox="1">
            <a:spLocks/>
          </p:cNvSpPr>
          <p:nvPr userDrawn="1"/>
        </p:nvSpPr>
        <p:spPr>
          <a:xfrm>
            <a:off x="717550" y="6656472"/>
            <a:ext cx="712694" cy="201528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283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7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0C336B-3A73-AAFA-6B75-C4F2A1FFDA3A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1513BF10-0B2D-7C64-0C16-F981C837E9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9945"/>
            <a:ext cx="1540800" cy="18432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7217EB8-6E9C-7980-0258-19A4F42EB8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91999" y="1809945"/>
            <a:ext cx="3324614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523F378-2F96-1912-E903-B891A7E69C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809945"/>
            <a:ext cx="5199062" cy="41400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593011B-D027-CAAB-E0CC-71B7263F55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1200" y="3767481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F6C404A-7C41-19B3-F939-C80672F005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4364303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F2B15FB-4652-13C6-3780-D64E4DF15F0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11200" y="4612909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36566066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9D146-5394-4379-B664-9EB429B2A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DA4186-15A7-389B-E2DE-46F2CCE7EF1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D95F06-507D-9199-1B6B-89277E5397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F82EC27-44EE-DCC2-265E-5586FECCF277}"/>
              </a:ext>
            </a:extLst>
          </p:cNvPr>
          <p:cNvSpPr/>
          <p:nvPr userDrawn="1"/>
        </p:nvSpPr>
        <p:spPr>
          <a:xfrm>
            <a:off x="0" y="1449388"/>
            <a:ext cx="12191999" cy="4668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A8516CC7-9416-B793-F3DD-C100B894FB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1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7224520-BA93-D5AF-C8CE-6142E8E27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9916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F09E23C-506F-9D64-6551-64E1514912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67907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88028E4-6818-D6B0-B663-69C464E449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67907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A76C26C-A524-9F81-9376-AEA5D3DA5ED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2267907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C9236BFA-AD9C-1D9D-5FE7-0509F31610EB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8394016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B16875A3-F07A-65B6-1378-68F04B871C51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8383931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3E0CA99-6F56-3C06-B5E1-DBE906AC2C90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9941922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9F09AD6-1580-34D8-4CA5-6A5067191FE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941922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49771EF-4DE4-E3EA-B882-883BA24023B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941922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9AA3689F-1F30-4B9C-7E88-A2C04D9B0312}"/>
              </a:ext>
            </a:extLst>
          </p:cNvPr>
          <p:cNvSpPr>
            <a:spLocks noGrp="1"/>
          </p:cNvSpPr>
          <p:nvPr>
            <p:ph type="pic" sz="quarter" idx="101"/>
          </p:nvPr>
        </p:nvSpPr>
        <p:spPr>
          <a:xfrm>
            <a:off x="4493347" y="1808163"/>
            <a:ext cx="1375017" cy="1617411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9B3D8BB0-B5A2-1535-A853-C59A738371BF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4483262" y="3596600"/>
            <a:ext cx="3240000" cy="235060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900"/>
              </a:spcAft>
              <a:defRPr sz="1600">
                <a:solidFill>
                  <a:schemeClr val="tx1"/>
                </a:solidFill>
              </a:defRPr>
            </a:lvl2pPr>
            <a:lvl3pPr marL="180000" indent="-180000">
              <a:spcBef>
                <a:spcPts val="0"/>
              </a:spcBef>
              <a:spcAft>
                <a:spcPts val="900"/>
              </a:spcAft>
              <a:defRPr sz="1400"/>
            </a:lvl3pPr>
            <a:lvl4pPr marL="360000" indent="-180000">
              <a:spcBef>
                <a:spcPts val="0"/>
              </a:spcBef>
              <a:spcAft>
                <a:spcPts val="900"/>
              </a:spcAft>
              <a:defRPr sz="1400"/>
            </a:lvl4pPr>
            <a:lvl5pPr marL="540000" indent="-180000">
              <a:spcBef>
                <a:spcPts val="0"/>
              </a:spcBef>
              <a:spcAft>
                <a:spcPts val="900"/>
              </a:spcAft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AF34117-F6D0-4604-4228-EE4758CCF4A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6041253" y="1861962"/>
            <a:ext cx="15401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EB35516-EB72-517B-B83B-3C8CB3D57F30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6041253" y="2458784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011EB0B-93B9-385A-2655-62F9FC35D599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041253" y="2707390"/>
            <a:ext cx="15401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24054316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8D91A809-FACF-B437-E3D2-9C6DA4B2D2CC}"/>
              </a:ext>
            </a:extLst>
          </p:cNvPr>
          <p:cNvSpPr/>
          <p:nvPr userDrawn="1"/>
        </p:nvSpPr>
        <p:spPr>
          <a:xfrm>
            <a:off x="0" y="1449388"/>
            <a:ext cx="12192000" cy="4881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C8C11-D43A-A1E1-5DB6-B31C5791B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9576D7-66C7-11FA-4636-D04223433F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D8690-1445-5800-70C5-FB428ABA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5" name="Picture Placeholder 192">
            <a:extLst>
              <a:ext uri="{FF2B5EF4-FFF2-40B4-BE49-F238E27FC236}">
                <a16:creationId xmlns:a16="http://schemas.microsoft.com/office/drawing/2014/main" id="{1DDCB019-D3A4-ED5A-7F13-375895AD33A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223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EE530E1-742A-3F74-8F5D-985C33AE377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E721A5F-38F0-5984-9169-2A99AF2B0CE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000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B4FF2F4-E7BA-2354-CC72-9C7AF789F2B3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72000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100CE9-6E39-FED1-7EAD-376BDCFC2407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72000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Picture Placeholder 192">
            <a:extLst>
              <a:ext uri="{FF2B5EF4-FFF2-40B4-BE49-F238E27FC236}">
                <a16:creationId xmlns:a16="http://schemas.microsoft.com/office/drawing/2014/main" id="{82C70FA0-73CE-D74A-3D4E-768D593797C1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27657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714F169-097B-28F8-C99B-1777D54774C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5835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69B24DF-9045-2A6A-E37A-048D28D108B8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5835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4AE83D0-C947-AA58-C5C1-DE61B61C7DE7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25835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66DD045-D951-AE39-4745-6EE6EB039B6A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25835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5" name="Picture Placeholder 192">
            <a:extLst>
              <a:ext uri="{FF2B5EF4-FFF2-40B4-BE49-F238E27FC236}">
                <a16:creationId xmlns:a16="http://schemas.microsoft.com/office/drawing/2014/main" id="{6337D75E-0E05-3230-A3EB-AB17D4447034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4652430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8EE87E7-BB54-21AD-7D66-5D0E2BD53154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4470197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B87D51-B144-28FC-E48F-FC54A816545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470197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423F9DA-30E8-DABB-FA9C-ADFE960B67A4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4470197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7D6280-F93F-A74E-1D54-31FB55119B6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470197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0" name="Picture Placeholder 192">
            <a:extLst>
              <a:ext uri="{FF2B5EF4-FFF2-40B4-BE49-F238E27FC236}">
                <a16:creationId xmlns:a16="http://schemas.microsoft.com/office/drawing/2014/main" id="{D9C0BD39-9F31-F4C0-427C-92F217355FD0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6469656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E0566EA-8C74-D249-98F2-2884911D31DD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6287423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370FE49-4D44-F248-236E-CF91DD6FBA3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287423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6F66A73-5991-9696-9FA9-18822629BD9C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287423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F279D23-355A-6F63-768D-D949401C1917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6287423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25" name="Picture Placeholder 192">
            <a:extLst>
              <a:ext uri="{FF2B5EF4-FFF2-40B4-BE49-F238E27FC236}">
                <a16:creationId xmlns:a16="http://schemas.microsoft.com/office/drawing/2014/main" id="{4D2307F6-BD6F-8B6F-F323-51191E9C4630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8333179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00DF51-2363-6B6E-0BB3-24E9F8999FC9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150946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0102495-CAF9-80C6-FBE2-6C1B304DCAA3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8150946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5EDB4C3-14FC-1E46-8133-02310C83E237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8150946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344F29F-3C2A-1BC6-B0FC-E2FBDAC55FBB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150946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0" name="Picture Placeholder 192">
            <a:extLst>
              <a:ext uri="{FF2B5EF4-FFF2-40B4-BE49-F238E27FC236}">
                <a16:creationId xmlns:a16="http://schemas.microsoft.com/office/drawing/2014/main" id="{EF99C791-5B82-2094-B20B-AB854C1F0DEC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10219853" y="162902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AA844A7-F36D-0EEE-EA68-3F090558F8BF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10037620" y="277200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89A6EFE-1966-07A1-2B3C-683E15643C7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10037620" y="293373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CF63A3B-8910-4FD7-F353-2D4A2C123ACB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10037620" y="309547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134E6F1-529C-8808-1F2E-235B1495B7EA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10037620" y="325720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35" name="Picture Placeholder 192">
            <a:extLst>
              <a:ext uri="{FF2B5EF4-FFF2-40B4-BE49-F238E27FC236}">
                <a16:creationId xmlns:a16="http://schemas.microsoft.com/office/drawing/2014/main" id="{DBC7F2A6-54A8-28E8-A710-572978C3AE3E}"/>
              </a:ext>
            </a:extLst>
          </p:cNvPr>
          <p:cNvSpPr>
            <a:spLocks noGrp="1"/>
          </p:cNvSpPr>
          <p:nvPr>
            <p:ph type="pic" sz="quarter" idx="122" hasCustomPrompt="1"/>
          </p:nvPr>
        </p:nvSpPr>
        <p:spPr>
          <a:xfrm>
            <a:off x="90223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BE1C620-AF50-32B9-285B-9E5534E0B74D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72000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E60EFF8-02FC-3C80-F792-21D9CD2ADC06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72000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D09B84E-DFC7-083D-3A37-E68A80AB7B50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72000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DA545C0-471E-2053-4F35-95ADA1A3A309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72000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0" name="Picture Placeholder 192">
            <a:extLst>
              <a:ext uri="{FF2B5EF4-FFF2-40B4-BE49-F238E27FC236}">
                <a16:creationId xmlns:a16="http://schemas.microsoft.com/office/drawing/2014/main" id="{585AE484-0A7F-D206-C1A9-7BDB7C3E02E1}"/>
              </a:ext>
            </a:extLst>
          </p:cNvPr>
          <p:cNvSpPr>
            <a:spLocks noGrp="1"/>
          </p:cNvSpPr>
          <p:nvPr>
            <p:ph type="pic" sz="quarter" idx="127" hasCustomPrompt="1"/>
          </p:nvPr>
        </p:nvSpPr>
        <p:spPr>
          <a:xfrm>
            <a:off x="27657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5D61A59-9EF3-5A59-AE4D-66E089D51F81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5835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D8A9D09-28A1-24B0-B985-1B2AD63C0A82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25835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898FEBD-EE32-A59D-66FD-EDE4BC401303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25835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21BB3FE-DC70-EF9D-B3DA-7EA859B46E57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25835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45" name="Picture Placeholder 192">
            <a:extLst>
              <a:ext uri="{FF2B5EF4-FFF2-40B4-BE49-F238E27FC236}">
                <a16:creationId xmlns:a16="http://schemas.microsoft.com/office/drawing/2014/main" id="{1788EEA8-ACDD-91A7-47BF-DDD5AD00B94A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652430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BCBBF01-D975-1034-1C79-F233A43B0247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4470197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A158FE-7033-252B-04B9-84A7D5C5AA7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4470197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4526289-86F0-D327-00A0-866CE423BF93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4470197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95B67B2-F740-5154-486B-B2AB2A363637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4470197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0" name="Picture Placeholder 192">
            <a:extLst>
              <a:ext uri="{FF2B5EF4-FFF2-40B4-BE49-F238E27FC236}">
                <a16:creationId xmlns:a16="http://schemas.microsoft.com/office/drawing/2014/main" id="{E2F23E85-FF0D-60FC-6FC0-8981AF435D08}"/>
              </a:ext>
            </a:extLst>
          </p:cNvPr>
          <p:cNvSpPr>
            <a:spLocks noGrp="1"/>
          </p:cNvSpPr>
          <p:nvPr>
            <p:ph type="pic" sz="quarter" idx="137" hasCustomPrompt="1"/>
          </p:nvPr>
        </p:nvSpPr>
        <p:spPr>
          <a:xfrm>
            <a:off x="6469656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EC5855E-1308-E7D1-EA21-D8EDD0F805B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6287423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19DDA8-EC67-2FA8-5792-93AFD3B1E172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6287423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C8AD02F9-0C80-5FEC-5810-591712947A9D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6287423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74961B98-ABC4-BBC2-EA29-AE2637CB6925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6287423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55" name="Picture Placeholder 192">
            <a:extLst>
              <a:ext uri="{FF2B5EF4-FFF2-40B4-BE49-F238E27FC236}">
                <a16:creationId xmlns:a16="http://schemas.microsoft.com/office/drawing/2014/main" id="{C950E0AD-B08B-14D2-407D-570EC50DEA51}"/>
              </a:ext>
            </a:extLst>
          </p:cNvPr>
          <p:cNvSpPr>
            <a:spLocks noGrp="1"/>
          </p:cNvSpPr>
          <p:nvPr>
            <p:ph type="pic" sz="quarter" idx="142" hasCustomPrompt="1"/>
          </p:nvPr>
        </p:nvSpPr>
        <p:spPr>
          <a:xfrm>
            <a:off x="8333179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F64DC3C-2204-BB53-9422-946D1C0305E1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8150946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ACBAD66-64B7-F722-8BBD-E218E8438257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150946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5606D5-F9AC-1ADB-2306-F49A883E11BC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8150946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FF54DE5-68CA-625C-6E85-215FAE8A0E7A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150946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0" name="Picture Placeholder 192">
            <a:extLst>
              <a:ext uri="{FF2B5EF4-FFF2-40B4-BE49-F238E27FC236}">
                <a16:creationId xmlns:a16="http://schemas.microsoft.com/office/drawing/2014/main" id="{D5B2E7CF-32E9-0FDE-13FF-46A9EE50793C}"/>
              </a:ext>
            </a:extLst>
          </p:cNvPr>
          <p:cNvSpPr>
            <a:spLocks noGrp="1"/>
          </p:cNvSpPr>
          <p:nvPr>
            <p:ph type="pic" sz="quarter" idx="147" hasCustomPrompt="1"/>
          </p:nvPr>
        </p:nvSpPr>
        <p:spPr>
          <a:xfrm>
            <a:off x="10219853" y="4001832"/>
            <a:ext cx="1080000" cy="108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90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hoto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4C57A2A-3F54-E260-830D-0F47E6E6624C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10037620" y="5144810"/>
            <a:ext cx="14444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000" b="1" i="0">
                <a:solidFill>
                  <a:schemeClr val="tx2"/>
                </a:solidFill>
                <a:latin typeface="+mn-lt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686DE3A-CAC4-585D-B414-2C794C2F52F4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10037620" y="5306545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1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FCC427-7F34-F453-9297-6CB2797D0FCE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10037620" y="5468280"/>
            <a:ext cx="1444466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9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Location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9D39DDC-01E1-71BC-595C-CAF818F30024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10037620" y="5630014"/>
            <a:ext cx="144446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800" b="0" i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Description of the role on the project</a:t>
            </a:r>
            <a:br>
              <a:rPr lang="en-US"/>
            </a:b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994786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91D5554-C232-CFDD-D0B5-F98F527C8981}"/>
              </a:ext>
            </a:extLst>
          </p:cNvPr>
          <p:cNvSpPr/>
          <p:nvPr userDrawn="1"/>
        </p:nvSpPr>
        <p:spPr>
          <a:xfrm>
            <a:off x="0" y="1655469"/>
            <a:ext cx="12192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0CEBB5-DD40-DE49-13F4-3DD312519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C87F95-C39E-E7B3-6D3B-A63551FC73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9A5DD519-C01F-A2E2-A0C3-C3C3D5992D5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1200" y="1449388"/>
            <a:ext cx="4691062" cy="46688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4148DC73-FB35-F9E5-3ADB-2CDDE5CBAF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16612" y="189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72F48D9-E3E4-FC67-B3F0-C9071BCD30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56612" y="189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ABCF8852-4F38-DF88-E8DE-24A25D8B59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16612" y="225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8556BCA-A8CE-E877-4722-A62674EC07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56612" y="225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1722221-D510-1535-C657-4B3305003D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16612" y="261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5910604-9421-11A0-9B3A-95448B269B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56612" y="261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ACD2997-B3A5-4DD3-E072-C56530C194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16612" y="2971915"/>
            <a:ext cx="1440000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bg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BD1FBAF-4E24-BEF7-C204-ACF0139FBE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56612" y="2971915"/>
            <a:ext cx="41400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986A78B7-1172-85EB-E140-DE5B11E865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16612" y="3563999"/>
            <a:ext cx="5555388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DAD8D03-ABE4-D589-D022-A21FCAB9DCF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916612" y="3923469"/>
            <a:ext cx="5580000" cy="2194756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0E6529-5558-DABE-A1C0-180A7A6F1C51}"/>
              </a:ext>
            </a:extLst>
          </p:cNvPr>
          <p:cNvSpPr txBox="1"/>
          <p:nvPr userDrawn="1"/>
        </p:nvSpPr>
        <p:spPr>
          <a:xfrm>
            <a:off x="5775767" y="131951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2B8A55-04FF-C589-04DD-7CC3267F52A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</p:spTree>
    <p:extLst>
      <p:ext uri="{BB962C8B-B14F-4D97-AF65-F5344CB8AC3E}">
        <p14:creationId xmlns:p14="http://schemas.microsoft.com/office/powerpoint/2010/main" val="349765679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90A54F3-B663-E1EC-A608-34D3C28C21AE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28781-3BCE-F021-213B-25B79DB1F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AEA80A-6D6C-578C-937D-2CBD58D4D4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89546" y="1683905"/>
            <a:ext cx="5182453" cy="21547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2EDE45E-CB19-DA2B-22CF-EB5FAD93705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291198" y="2043904"/>
            <a:ext cx="5205413" cy="3905483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marL="0" lvl="0" indent="0">
              <a:buNone/>
            </a:pP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C5D669-8BE1-D226-D56C-86B557A9EDC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994DE5-5C88-9AC9-B73C-23B749740F3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40371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B77D9FA3-DA7C-AEA3-C84F-9AE62F0C8CA0}"/>
              </a:ext>
            </a:extLst>
          </p:cNvPr>
          <p:cNvSpPr/>
          <p:nvPr userDrawn="1"/>
        </p:nvSpPr>
        <p:spPr>
          <a:xfrm>
            <a:off x="0" y="1449801"/>
            <a:ext cx="12192000" cy="4691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F21790-2016-8C5E-0579-ACC0AC60B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D46F3A02-85CA-E511-7D61-C8F5A597D2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200" y="160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eld 1: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6387601E-9E03-C5A9-856A-B1FFCDE949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1200" y="160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A20D34E6-D18D-AFE7-6B1B-92284156ED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200" y="196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2: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2BFBB20-189D-C6B8-2454-56E18275340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51200" y="196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1222CEE-094C-07F2-772A-A14BC36F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200" y="232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EFF613F-A336-FFEE-F7DB-A71FD3DBAD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51200" y="232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75E1B9F-2938-00DA-2E17-E0AC3D1752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200" y="2686901"/>
            <a:ext cx="1440000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2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3: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E371E21-14C6-0308-1DE7-CCB8845218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51200" y="2686901"/>
            <a:ext cx="41400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6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XXXX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8F751FA-B2D2-9DB4-1A97-6030F0594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1200" y="3060000"/>
            <a:ext cx="5555388" cy="21547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US" sz="1600" b="1" dirty="0">
                <a:solidFill>
                  <a:schemeClr val="tx1"/>
                </a:solidFill>
                <a:latin typeface="+mn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US"/>
              <a:t>Field 4: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C63203BA-8412-965B-7F70-0734A43B1D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11200" y="3419999"/>
            <a:ext cx="5580000" cy="269822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1400" b="0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5971BC-29CA-4E0E-B2F9-69FFE497554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500938" y="0"/>
            <a:ext cx="4691062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2BEE176-297F-F9BA-55A6-FE1279672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64925" y="263525"/>
            <a:ext cx="481542" cy="6551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F7270B8-A4AB-38F3-B043-CBB41877087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7291750-0B2F-561C-7349-A36600FBBFC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5127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E6A37DC-55F1-C020-537F-AB3DEC2944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1947687"/>
            <a:ext cx="12192000" cy="893038"/>
          </a:xfrm>
          <a:solidFill>
            <a:schemeClr val="accent1"/>
          </a:solidFill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GB"/>
              <a:t> 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55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926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2399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74775" y="2112788"/>
            <a:ext cx="570489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4399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80000" y="2112788"/>
            <a:ext cx="2592000" cy="570488"/>
          </a:xfrm>
        </p:spPr>
        <p:txBody>
          <a:bodyPr lIns="108000" rIns="108000" anchor="ctr" anchorCtr="0"/>
          <a:lstStyle>
            <a:lvl1pPr>
              <a:defRPr sz="1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62865" y="2112788"/>
            <a:ext cx="568800" cy="570489"/>
          </a:xfrm>
          <a:noFill/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2000" y="2952200"/>
            <a:ext cx="3240000" cy="3005800"/>
          </a:xfrm>
        </p:spPr>
        <p:txBody>
          <a:bodyPr lIns="0" r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856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8"/>
            <a:ext cx="12191999" cy="1071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7153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87153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87153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667117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47117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47117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9" name="Text Placeholder 22">
            <a:extLst>
              <a:ext uri="{FF2B5EF4-FFF2-40B4-BE49-F238E27FC236}">
                <a16:creationId xmlns:a16="http://schemas.microsoft.com/office/drawing/2014/main" id="{37E7656C-C079-6E41-16B1-F81E203F778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3741" y="2720390"/>
            <a:ext cx="1800000" cy="570488"/>
          </a:xfrm>
        </p:spPr>
        <p:txBody>
          <a:bodyPr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40" name="Picture Placeholder 21">
            <a:extLst>
              <a:ext uri="{FF2B5EF4-FFF2-40B4-BE49-F238E27FC236}">
                <a16:creationId xmlns:a16="http://schemas.microsoft.com/office/drawing/2014/main" id="{EFB798C1-7B1B-E27B-BF69-CF2D93437D4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183741" y="2720390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8B83EA18-058B-AFDF-99A2-EC10FD4F3E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83741" y="3378914"/>
            <a:ext cx="2520000" cy="2034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177873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column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A0C82-9A36-83A4-7D78-614A5E588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E6B163-B1DF-69AC-1EEB-79CD4C579D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449389"/>
            <a:ext cx="12191999" cy="62569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294DC42-E226-AFA7-DF84-3BD5B415EA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3755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25" name="Picture Placeholder 21">
            <a:extLst>
              <a:ext uri="{FF2B5EF4-FFF2-40B4-BE49-F238E27FC236}">
                <a16:creationId xmlns:a16="http://schemas.microsoft.com/office/drawing/2014/main" id="{EB0DFDAC-85B3-7B55-40CE-88CFB511719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755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F7A8CEE-C930-4DFC-464B-1F1363E38B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755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078D3C20-7077-7CC5-29BB-BD139BCAB8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6000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4" name="Picture Placeholder 21">
            <a:extLst>
              <a:ext uri="{FF2B5EF4-FFF2-40B4-BE49-F238E27FC236}">
                <a16:creationId xmlns:a16="http://schemas.microsoft.com/office/drawing/2014/main" id="{34D44509-87FD-DD0D-BA56-411004C284B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86000" y="2273013"/>
            <a:ext cx="570489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11A08347-FAC0-8A56-C809-C72FD4C410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6000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8E9D011D-EC43-9148-6DF9-E0ECE351E6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774452" y="2273013"/>
            <a:ext cx="2700000" cy="570488"/>
          </a:xfrm>
        </p:spPr>
        <p:txBody>
          <a:bodyPr lIns="0" rIns="108000" anchor="ctr" anchorCtr="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</a:lstStyle>
          <a:p>
            <a:pPr lvl="0"/>
            <a:endParaRPr lang="en-US"/>
          </a:p>
        </p:txBody>
      </p:sp>
      <p:sp>
        <p:nvSpPr>
          <p:cNvPr id="37" name="Picture Placeholder 21">
            <a:extLst>
              <a:ext uri="{FF2B5EF4-FFF2-40B4-BE49-F238E27FC236}">
                <a16:creationId xmlns:a16="http://schemas.microsoft.com/office/drawing/2014/main" id="{7C9ABC78-76EA-D0B8-CA86-4A78FE70693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54452" y="2273013"/>
            <a:ext cx="568800" cy="570489"/>
          </a:xfrm>
          <a:noFill/>
        </p:spPr>
        <p:txBody>
          <a:bodyPr/>
          <a:lstStyle/>
          <a:p>
            <a:r>
              <a:rPr lang="en-US"/>
              <a:t>Icon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52C5EA55-38DC-762A-CC2D-043CC2DB9C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54452" y="2931537"/>
            <a:ext cx="3420000" cy="3186688"/>
          </a:xfrm>
        </p:spPr>
        <p:txBody>
          <a:bodyPr lIns="0" r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  <a:endParaRPr lang="en-US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F86FBFD4-C79A-657C-06CB-B8E89434026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6274800" y="6480000"/>
            <a:ext cx="4833978" cy="123112"/>
          </a:xfrm>
        </p:spPr>
        <p:txBody>
          <a:bodyPr/>
          <a:lstStyle/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79B36C8B-E2CE-71EA-502D-5A5B6E3ECE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92F59D-1271-B884-C66B-306E3FF5BE78}"/>
              </a:ext>
            </a:extLst>
          </p:cNvPr>
          <p:cNvSpPr txBox="1"/>
          <p:nvPr userDrawn="1"/>
        </p:nvSpPr>
        <p:spPr>
          <a:xfrm>
            <a:off x="-1232034" y="638154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336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2.xml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428D3E-AB2E-F89B-7C30-A92EF2037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1360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83" imgH="384" progId="TCLayout.ActiveDocument.1">
                  <p:embed/>
                </p:oleObj>
              </mc:Choice>
              <mc:Fallback>
                <p:oleObj name="think-cell Slide" r:id="rId2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428D3E-AB2E-F89B-7C30-A92EF2037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5583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31" r:id="rId2"/>
    <p:sldLayoutId id="2147483696" r:id="rId3"/>
    <p:sldLayoutId id="2147483698" r:id="rId4"/>
    <p:sldLayoutId id="2147483667" r:id="rId5"/>
    <p:sldLayoutId id="2147483732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92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 userDrawn="1">
          <p15:clr>
            <a:srgbClr val="F26B43"/>
          </p15:clr>
        </p15:guide>
        <p15:guide id="3" pos="461" userDrawn="1">
          <p15:clr>
            <a:srgbClr val="F26B43"/>
          </p15:clr>
        </p15:guide>
        <p15:guide id="4" pos="7333" userDrawn="1">
          <p15:clr>
            <a:srgbClr val="F26B43"/>
          </p15:clr>
        </p15:guide>
        <p15:guide id="5" pos="3727" userDrawn="1">
          <p15:clr>
            <a:srgbClr val="F26B43"/>
          </p15:clr>
        </p15:guide>
        <p15:guide id="6" pos="3953" userDrawn="1">
          <p15:clr>
            <a:srgbClr val="F26B43"/>
          </p15:clr>
        </p15:guide>
        <p15:guide id="7" orient="horz" pos="226" userDrawn="1">
          <p15:clr>
            <a:srgbClr val="F26B43"/>
          </p15:clr>
        </p15:guide>
        <p15:guide id="10" pos="7680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2524097-FE44-8883-E2ED-BB00A4683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91161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2524097-FE44-8883-E2ED-BB00A4683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623E01-8C83-4BEF-AC8B-01A5594C2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43746B-0224-44DF-AF40-79E2F3ECCB38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4800" y="6480000"/>
            <a:ext cx="4834800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CFC228-5C3F-DD4C-DD32-B1F18FD2CF37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pic>
        <p:nvPicPr>
          <p:cNvPr id="5" name="Picture 4" descr="ERM logo">
            <a:extLst>
              <a:ext uri="{FF2B5EF4-FFF2-40B4-BE49-F238E27FC236}">
                <a16:creationId xmlns:a16="http://schemas.microsoft.com/office/drawing/2014/main" id="{E97C41E5-2372-C8EA-7736-8840970A3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7" t="7039" r="10492" b="7214"/>
          <a:stretch/>
        </p:blipFill>
        <p:spPr>
          <a:xfrm>
            <a:off x="11449049" y="254889"/>
            <a:ext cx="519689" cy="6817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FF6367C-EE1A-F1C0-8602-72E07802C5C6}"/>
              </a:ext>
            </a:extLst>
          </p:cNvPr>
          <p:cNvSpPr/>
          <p:nvPr userDrawn="1"/>
        </p:nvSpPr>
        <p:spPr>
          <a:xfrm>
            <a:off x="720000" y="1080000"/>
            <a:ext cx="4320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744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40" r:id="rId2"/>
    <p:sldLayoutId id="2147483665" r:id="rId3"/>
    <p:sldLayoutId id="2147483652" r:id="rId4"/>
    <p:sldLayoutId id="2147483699" r:id="rId5"/>
    <p:sldLayoutId id="2147483661" r:id="rId6"/>
    <p:sldLayoutId id="2147483662" r:id="rId7"/>
    <p:sldLayoutId id="2147483664" r:id="rId8"/>
    <p:sldLayoutId id="2147483713" r:id="rId9"/>
    <p:sldLayoutId id="2147483674" r:id="rId10"/>
    <p:sldLayoutId id="2147483700" r:id="rId11"/>
    <p:sldLayoutId id="2147483733" r:id="rId12"/>
    <p:sldLayoutId id="2147483673" r:id="rId13"/>
    <p:sldLayoutId id="2147483701" r:id="rId14"/>
    <p:sldLayoutId id="2147483766" r:id="rId15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48" userDrawn="1">
          <p15:clr>
            <a:srgbClr val="F26B43"/>
          </p15:clr>
        </p15:guide>
        <p15:guide id="4" pos="7228" userDrawn="1">
          <p15:clr>
            <a:srgbClr val="F26B43"/>
          </p15:clr>
        </p15:guide>
        <p15:guide id="5" pos="3727" userDrawn="1">
          <p15:clr>
            <a:srgbClr val="F26B43"/>
          </p15:clr>
        </p15:guide>
        <p15:guide id="6" pos="3953" userDrawn="1">
          <p15:clr>
            <a:srgbClr val="F26B43"/>
          </p15:clr>
        </p15:guide>
        <p15:guide id="7" orient="horz" pos="220" userDrawn="1">
          <p15:clr>
            <a:srgbClr val="F26B43"/>
          </p15:clr>
        </p15:guide>
        <p15:guide id="8" orient="horz" pos="1026" userDrawn="1">
          <p15:clr>
            <a:srgbClr val="F26B43"/>
          </p15:clr>
        </p15:guide>
        <p15:guide id="9" orient="horz" pos="3854" userDrawn="1">
          <p15:clr>
            <a:srgbClr val="F26B43"/>
          </p15:clr>
        </p15:guide>
        <p15:guide id="10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93DE0E4-7356-5828-9382-EA2F7A055F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16722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93DE0E4-7356-5828-9382-EA2F7A055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76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5388" y="6480000"/>
            <a:ext cx="4833978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0239965-EBC2-CF55-8E2F-9DCEF2BAE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C5F4C9-D42C-420A-585F-BAC64C9D9B0B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682A01C-B420-EFBA-0F78-9AE0158A848A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pic>
        <p:nvPicPr>
          <p:cNvPr id="3" name="Picture 2" descr="ERM logo">
            <a:extLst>
              <a:ext uri="{FF2B5EF4-FFF2-40B4-BE49-F238E27FC236}">
                <a16:creationId xmlns:a16="http://schemas.microsoft.com/office/drawing/2014/main" id="{1C8538BD-36FE-F38D-D0CC-EC91A44C15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7" t="7039" r="10492" b="7214"/>
          <a:stretch/>
        </p:blipFill>
        <p:spPr>
          <a:xfrm>
            <a:off x="11449049" y="254889"/>
            <a:ext cx="519689" cy="68173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519A964-4EFF-7B76-0C48-1902138DC342}"/>
              </a:ext>
            </a:extLst>
          </p:cNvPr>
          <p:cNvSpPr/>
          <p:nvPr userDrawn="1"/>
        </p:nvSpPr>
        <p:spPr>
          <a:xfrm>
            <a:off x="720000" y="1080000"/>
            <a:ext cx="4320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60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663" r:id="rId2"/>
    <p:sldLayoutId id="2147483738" r:id="rId3"/>
    <p:sldLayoutId id="2147483735" r:id="rId4"/>
    <p:sldLayoutId id="2147483736" r:id="rId5"/>
    <p:sldLayoutId id="2147483737" r:id="rId6"/>
    <p:sldLayoutId id="2147483734" r:id="rId7"/>
    <p:sldLayoutId id="2147483714" r:id="rId8"/>
    <p:sldLayoutId id="2147483717" r:id="rId9"/>
    <p:sldLayoutId id="2147483685" r:id="rId10"/>
    <p:sldLayoutId id="2147483686" r:id="rId11"/>
    <p:sldLayoutId id="2147483687" r:id="rId12"/>
    <p:sldLayoutId id="2147483711" r:id="rId13"/>
    <p:sldLayoutId id="2147483690" r:id="rId14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48" userDrawn="1">
          <p15:clr>
            <a:srgbClr val="F26B43"/>
          </p15:clr>
        </p15:guide>
        <p15:guide id="4" pos="7228" userDrawn="1">
          <p15:clr>
            <a:srgbClr val="F26B43"/>
          </p15:clr>
        </p15:guide>
        <p15:guide id="5" pos="3727" userDrawn="1">
          <p15:clr>
            <a:srgbClr val="F26B43"/>
          </p15:clr>
        </p15:guide>
        <p15:guide id="6" pos="3953" userDrawn="1">
          <p15:clr>
            <a:srgbClr val="F26B43"/>
          </p15:clr>
        </p15:guide>
        <p15:guide id="7" orient="horz" pos="220" userDrawn="1">
          <p15:clr>
            <a:srgbClr val="F26B43"/>
          </p15:clr>
        </p15:guide>
        <p15:guide id="8" orient="horz" pos="1026" userDrawn="1">
          <p15:clr>
            <a:srgbClr val="F26B43"/>
          </p15:clr>
        </p15:guide>
        <p15:guide id="9" orient="horz" pos="3854" userDrawn="1">
          <p15:clr>
            <a:srgbClr val="F26B43"/>
          </p15:clr>
        </p15:guide>
        <p15:guide id="10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913" userDrawn="1">
          <p15:clr>
            <a:srgbClr val="F26B43"/>
          </p15:clr>
        </p15:guide>
        <p15:guide id="13" pos="76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08A8BB-9B6F-2D86-0D69-13F56CA63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484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08A8BB-9B6F-2D86-0D69-13F56CA63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5388" y="6480000"/>
            <a:ext cx="4833978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ED138E-E6D4-820E-D8C2-3A495B86C3A0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EC6DA18-1F56-D5CC-5374-59E8964E6407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8053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0" r:id="rId2"/>
    <p:sldLayoutId id="2147483707" r:id="rId3"/>
    <p:sldLayoutId id="2147483691" r:id="rId4"/>
    <p:sldLayoutId id="2147483708" r:id="rId5"/>
    <p:sldLayoutId id="2147483709" r:id="rId6"/>
    <p:sldLayoutId id="2147483756" r:id="rId7"/>
    <p:sldLayoutId id="2147483759" r:id="rId8"/>
    <p:sldLayoutId id="2147483762" r:id="rId9"/>
    <p:sldLayoutId id="2147483763" r:id="rId10"/>
    <p:sldLayoutId id="2147483767" r:id="rId11"/>
    <p:sldLayoutId id="2147483768" r:id="rId12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92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1049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7228" userDrawn="1">
          <p15:clr>
            <a:srgbClr val="F26B43"/>
          </p15:clr>
        </p15:guide>
        <p15:guide id="9" orient="horz" pos="3854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orient="horz" pos="686" userDrawn="1">
          <p15:clr>
            <a:srgbClr val="F26B43"/>
          </p15:clr>
        </p15:guide>
        <p15:guide id="13" pos="448" userDrawn="1">
          <p15:clr>
            <a:srgbClr val="F26B43"/>
          </p15:clr>
        </p15:guide>
        <p15:guide id="14" orient="horz" pos="913" userDrawn="1">
          <p15:clr>
            <a:srgbClr val="F26B43"/>
          </p15:clr>
        </p15:guide>
        <p15:guide id="15" pos="55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9362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623E01-8C83-4BEF-AC8B-01A5594C2A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B43746B-0224-44DF-AF40-79E2F3ECCB38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4800" y="6480000"/>
            <a:ext cx="4834800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CFC228-5C3F-DD4C-DD32-B1F18FD2CF37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pic>
        <p:nvPicPr>
          <p:cNvPr id="5" name="Picture 4" descr="ERM logo">
            <a:extLst>
              <a:ext uri="{FF2B5EF4-FFF2-40B4-BE49-F238E27FC236}">
                <a16:creationId xmlns:a16="http://schemas.microsoft.com/office/drawing/2014/main" id="{E97C41E5-2372-C8EA-7736-8840970A3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7" t="7039" r="10492" b="7214"/>
          <a:stretch/>
        </p:blipFill>
        <p:spPr>
          <a:xfrm>
            <a:off x="11449049" y="254889"/>
            <a:ext cx="519689" cy="6817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FF6367C-EE1A-F1C0-8602-72E07802C5C6}"/>
              </a:ext>
            </a:extLst>
          </p:cNvPr>
          <p:cNvSpPr/>
          <p:nvPr userDrawn="1"/>
        </p:nvSpPr>
        <p:spPr>
          <a:xfrm>
            <a:off x="720000" y="1080000"/>
            <a:ext cx="4320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809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5" r:id="rId15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48">
          <p15:clr>
            <a:srgbClr val="F26B43"/>
          </p15:clr>
        </p15:guide>
        <p15:guide id="4" pos="7228">
          <p15:clr>
            <a:srgbClr val="F26B43"/>
          </p15:clr>
        </p15:guide>
        <p15:guide id="5" pos="3727">
          <p15:clr>
            <a:srgbClr val="F26B43"/>
          </p15:clr>
        </p15:guide>
        <p15:guide id="6" pos="3953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orient="horz" pos="3854">
          <p15:clr>
            <a:srgbClr val="F26B43"/>
          </p15:clr>
        </p15:guide>
        <p15:guide id="10">
          <p15:clr>
            <a:srgbClr val="F26B43"/>
          </p15:clr>
        </p15:guide>
        <p15:guide id="11" orient="horz" pos="4156">
          <p15:clr>
            <a:srgbClr val="F26B43"/>
          </p15:clr>
        </p15:guide>
        <p15:guide id="12" orient="horz" pos="91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76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5388" y="6480000"/>
            <a:ext cx="4833978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0239965-EBC2-CF55-8E2F-9DCEF2BAE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C5F4C9-D42C-420A-585F-BAC64C9D9B0B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682A01C-B420-EFBA-0F78-9AE0158A848A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pic>
        <p:nvPicPr>
          <p:cNvPr id="3" name="Picture 2" descr="ERM logo">
            <a:extLst>
              <a:ext uri="{FF2B5EF4-FFF2-40B4-BE49-F238E27FC236}">
                <a16:creationId xmlns:a16="http://schemas.microsoft.com/office/drawing/2014/main" id="{1C8538BD-36FE-F38D-D0CC-EC91A44C15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7" t="7039" r="10492" b="7214"/>
          <a:stretch/>
        </p:blipFill>
        <p:spPr>
          <a:xfrm>
            <a:off x="11449049" y="254889"/>
            <a:ext cx="519689" cy="68173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519A964-4EFF-7B76-0C48-1902138DC342}"/>
              </a:ext>
            </a:extLst>
          </p:cNvPr>
          <p:cNvSpPr/>
          <p:nvPr userDrawn="1"/>
        </p:nvSpPr>
        <p:spPr>
          <a:xfrm>
            <a:off x="720000" y="1080000"/>
            <a:ext cx="4320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793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48">
          <p15:clr>
            <a:srgbClr val="F26B43"/>
          </p15:clr>
        </p15:guide>
        <p15:guide id="4" pos="7228">
          <p15:clr>
            <a:srgbClr val="F26B43"/>
          </p15:clr>
        </p15:guide>
        <p15:guide id="5" pos="3727">
          <p15:clr>
            <a:srgbClr val="F26B43"/>
          </p15:clr>
        </p15:guide>
        <p15:guide id="6" pos="3953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orient="horz" pos="3854">
          <p15:clr>
            <a:srgbClr val="F26B43"/>
          </p15:clr>
        </p15:guide>
        <p15:guide id="10">
          <p15:clr>
            <a:srgbClr val="F26B43"/>
          </p15:clr>
        </p15:guide>
        <p15:guide id="11" orient="horz" pos="4156">
          <p15:clr>
            <a:srgbClr val="F26B43"/>
          </p15:clr>
        </p15:guide>
        <p15:guide id="12" orient="horz" pos="913">
          <p15:clr>
            <a:srgbClr val="F26B43"/>
          </p15:clr>
        </p15:guide>
        <p15:guide id="13" pos="76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DEAD7-3A52-4D15-AF58-4F97714F7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359999"/>
            <a:ext cx="94176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CA4127-E5A9-0E72-3746-F40059891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16244" y="6480000"/>
            <a:ext cx="255756" cy="123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fld id="{D50BA9A8-CF3C-844E-807E-F2FFC8C0C4D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D50D3E4-3994-D591-1630-D3B3C19DC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75388" y="6480000"/>
            <a:ext cx="4833978" cy="1231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/>
              <a:t>Title of Presentation (To edit: Insert &gt; Header &amp; Footer)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0239965-EBC2-CF55-8E2F-9DCEF2BAE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628776"/>
            <a:ext cx="9419363" cy="44894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C5F4C9-D42C-420A-585F-BAC64C9D9B0B}"/>
              </a:ext>
            </a:extLst>
          </p:cNvPr>
          <p:cNvSpPr txBox="1"/>
          <p:nvPr userDrawn="1"/>
        </p:nvSpPr>
        <p:spPr>
          <a:xfrm>
            <a:off x="717550" y="6498000"/>
            <a:ext cx="684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0">
                <a:solidFill>
                  <a:schemeClr val="tx2"/>
                </a:solidFill>
              </a:rPr>
              <a:t>www.erm.com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682A01C-B420-EFBA-0F78-9AE0158A848A}"/>
              </a:ext>
            </a:extLst>
          </p:cNvPr>
          <p:cNvSpPr txBox="1">
            <a:spLocks/>
          </p:cNvSpPr>
          <p:nvPr userDrawn="1"/>
        </p:nvSpPr>
        <p:spPr>
          <a:xfrm>
            <a:off x="717550" y="6786000"/>
            <a:ext cx="684000" cy="72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  <p:pic>
        <p:nvPicPr>
          <p:cNvPr id="3" name="Picture 2" descr="ERM logo">
            <a:extLst>
              <a:ext uri="{FF2B5EF4-FFF2-40B4-BE49-F238E27FC236}">
                <a16:creationId xmlns:a16="http://schemas.microsoft.com/office/drawing/2014/main" id="{1C8538BD-36FE-F38D-D0CC-EC91A44C15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7" t="7039" r="10492" b="7214"/>
          <a:stretch/>
        </p:blipFill>
        <p:spPr>
          <a:xfrm>
            <a:off x="11449049" y="254889"/>
            <a:ext cx="519689" cy="68173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519A964-4EFF-7B76-0C48-1902138DC342}"/>
              </a:ext>
            </a:extLst>
          </p:cNvPr>
          <p:cNvSpPr/>
          <p:nvPr userDrawn="1"/>
        </p:nvSpPr>
        <p:spPr>
          <a:xfrm>
            <a:off x="720000" y="1080000"/>
            <a:ext cx="4320000" cy="1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78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992"/>
        </a:spcBef>
        <a:spcAft>
          <a:spcPts val="90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64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bg1">
            <a:lumMod val="65000"/>
          </a:schemeClr>
        </a:buClr>
        <a:buSzPct val="8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48">
          <p15:clr>
            <a:srgbClr val="F26B43"/>
          </p15:clr>
        </p15:guide>
        <p15:guide id="4" pos="7228">
          <p15:clr>
            <a:srgbClr val="F26B43"/>
          </p15:clr>
        </p15:guide>
        <p15:guide id="5" pos="3727">
          <p15:clr>
            <a:srgbClr val="F26B43"/>
          </p15:clr>
        </p15:guide>
        <p15:guide id="6" pos="3953">
          <p15:clr>
            <a:srgbClr val="F26B43"/>
          </p15:clr>
        </p15:guide>
        <p15:guide id="7" orient="horz" pos="220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orient="horz" pos="3854">
          <p15:clr>
            <a:srgbClr val="F26B43"/>
          </p15:clr>
        </p15:guide>
        <p15:guide id="10">
          <p15:clr>
            <a:srgbClr val="F26B43"/>
          </p15:clr>
        </p15:guide>
        <p15:guide id="11" orient="horz" pos="4156">
          <p15:clr>
            <a:srgbClr val="F26B43"/>
          </p15:clr>
        </p15:guide>
        <p15:guide id="12" orient="horz" pos="913">
          <p15:clr>
            <a:srgbClr val="F26B43"/>
          </p15:clr>
        </p15:guide>
        <p15:guide id="13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Mackay.Miller@erm.com" TargetMode="Externa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arpa-e.energy.gov/news-and-media/blog-posts/repair-program-update-first-year-perspective-and-whats-next" TargetMode="External"/><Relationship Id="rId3" Type="http://schemas.openxmlformats.org/officeDocument/2006/relationships/hyperlink" Target="https://energy.ri.gov/sites/g/files/xkgbur741/files/documents/HST/RI-HST-Final-Pathways-Report-5-27-20.pdf" TargetMode="External"/><Relationship Id="rId7" Type="http://schemas.openxmlformats.org/officeDocument/2006/relationships/hyperlink" Target="https://www.kensaheatpumps.com/social-housing/case-studies-enfield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6" Type="http://schemas.openxmlformats.org/officeDocument/2006/relationships/hyperlink" Target="https://www.eversource.com/content/residential/about/sustainability/renewable-generation/geothermal#:~:text=Networked%20Geothermal%20Energy&amp;text=This%20project%20is%20the%20first,the%20technology%20in%20the%20future." TargetMode="External"/><Relationship Id="rId5" Type="http://schemas.openxmlformats.org/officeDocument/2006/relationships/hyperlink" Target="https://rmi.org/decarbonizing-tall-buildings-with-a-new-york-state-of-mind/" TargetMode="External"/><Relationship Id="rId4" Type="http://schemas.openxmlformats.org/officeDocument/2006/relationships/hyperlink" Target="https://www1.nyc.gov/assets/sustainability/downloads/pdf/publications/Carbon-Neutral-NYC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ridworks.org/wp-content/uploads/2019/09/GW_Calif-Gas-System-report-1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6" Type="http://schemas.openxmlformats.org/officeDocument/2006/relationships/hyperlink" Target="https://fileservice.eea.comacloud.net/FileService.Api/file/FileRoom/14633269" TargetMode="External"/><Relationship Id="rId5" Type="http://schemas.openxmlformats.org/officeDocument/2006/relationships/hyperlink" Target="https://www1.nyc.gov/assets/sustainability/downloads/pdf/publications/Carbon-Neutral-NYC.pdf" TargetMode="External"/><Relationship Id="rId4" Type="http://schemas.openxmlformats.org/officeDocument/2006/relationships/hyperlink" Target="https://energy.ri.gov/sites/g/files/xkgbur741/files/documents/HST/RI-HST-Final-Pathways-Report-5-27-20.pdf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Mackay.Miller@erm.com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40">
            <a:extLst>
              <a:ext uri="{FF2B5EF4-FFF2-40B4-BE49-F238E27FC236}">
                <a16:creationId xmlns:a16="http://schemas.microsoft.com/office/drawing/2014/main" id="{374BE88F-47A2-BAC9-9B82-628B2A99CFC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6613" y="9525"/>
            <a:ext cx="6275387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A66BDC-819D-16B0-6D8A-4818C600A2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3251" y="533400"/>
            <a:ext cx="4258349" cy="1729225"/>
          </a:xfrm>
        </p:spPr>
        <p:txBody>
          <a:bodyPr vert="horz" anchor="t"/>
          <a:lstStyle/>
          <a:p>
            <a:pPr algn="l"/>
            <a:b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</a:br>
            <a:r>
              <a:rPr lang="en-US" sz="18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br>
              <a:rPr lang="en-US" sz="1800" b="0" i="0" u="none" strike="noStrike" baseline="0" dirty="0">
                <a:solidFill>
                  <a:srgbClr val="000000"/>
                </a:solidFill>
              </a:rPr>
            </a:br>
            <a:r>
              <a:rPr lang="en-US" sz="2400" dirty="0"/>
              <a:t>Abandon or Replace?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r>
              <a:rPr lang="en-US" sz="1800" b="0" i="0" u="none" strike="noStrike" baseline="0" dirty="0">
                <a:solidFill>
                  <a:srgbClr val="000000"/>
                </a:solidFill>
              </a:rPr>
              <a:t>DOCKET NO. 22-01-NG </a:t>
            </a:r>
            <a:br>
              <a:rPr lang="en-US" sz="1800" b="0" i="0" u="none" strike="noStrike" baseline="0" dirty="0">
                <a:solidFill>
                  <a:srgbClr val="000000"/>
                </a:solidFill>
              </a:rPr>
            </a:br>
            <a:r>
              <a:rPr lang="en-US" sz="1800" b="0" i="0" u="none" strike="noStrike" baseline="0" dirty="0">
                <a:solidFill>
                  <a:srgbClr val="000000"/>
                </a:solidFill>
              </a:rPr>
              <a:t>Technical Conference </a:t>
            </a:r>
            <a:br>
              <a:rPr lang="en-US" sz="1800" b="0" i="0" u="none" strike="noStrike" baseline="0" dirty="0">
                <a:solidFill>
                  <a:srgbClr val="000000"/>
                </a:solidFill>
              </a:rPr>
            </a:br>
            <a:br>
              <a:rPr lang="en-US" sz="1800" b="0" i="0" u="none" strike="noStrike" baseline="0" dirty="0">
                <a:solidFill>
                  <a:srgbClr val="000000"/>
                </a:solidFill>
              </a:rPr>
            </a:br>
            <a:r>
              <a:rPr lang="en-US" sz="1600" b="0" i="1" dirty="0"/>
              <a:t>The future of the regulated gas distribution business in Rhode Island in light of the Act On Climate</a:t>
            </a:r>
            <a:br>
              <a:rPr lang="en-US" sz="1600" dirty="0"/>
            </a:br>
            <a:br>
              <a:rPr lang="en-US" sz="1600" dirty="0"/>
            </a:br>
            <a:br>
              <a:rPr lang="en-US" sz="1600" dirty="0"/>
            </a:br>
            <a:endParaRPr lang="en-US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97386B-967E-5862-C724-06B9C47009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5218" y="4034135"/>
            <a:ext cx="4658400" cy="461665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Mackay Miller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Partner, ERM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9 February 2023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782A4E1-338D-E980-F826-CEA7E1014C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084A12B-3C10-DA07-8FE3-D9F0FAF8153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D819A44E-98E3-426E-558C-28195F71A5B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A95CD5D-6F26-64B8-DF2D-525B0D8AC2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8C27FCF-8299-4A25-DFC4-F3BAE9EE30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366542-FC67-F53D-40D7-A8EE5904FA8C}"/>
              </a:ext>
            </a:extLst>
          </p:cNvPr>
          <p:cNvSpPr txBox="1"/>
          <p:nvPr/>
        </p:nvSpPr>
        <p:spPr>
          <a:xfrm>
            <a:off x="848656" y="5950472"/>
            <a:ext cx="41381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/>
              <a:t>© Copyright 2023 by The ERM International Group Limited and/or its affiliates (‘ERM’). All Rights Reserved. No part of this work may be reproduced or transmitted in any form or by any means, without prior written permission of ERM.</a:t>
            </a:r>
          </a:p>
        </p:txBody>
      </p:sp>
    </p:spTree>
    <p:extLst>
      <p:ext uri="{BB962C8B-B14F-4D97-AF65-F5344CB8AC3E}">
        <p14:creationId xmlns:p14="http://schemas.microsoft.com/office/powerpoint/2010/main" val="79810769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41DCFF-AF64-6BCC-0811-341453ED8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aker backgrou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440682-BD95-E3EC-2BED-8B00C994938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50BA9A8-CF3C-844E-807E-F2FFC8C0C4DD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Picture Placeholder 38">
            <a:extLst>
              <a:ext uri="{FF2B5EF4-FFF2-40B4-BE49-F238E27FC236}">
                <a16:creationId xmlns:a16="http://schemas.microsoft.com/office/drawing/2014/main" id="{877E9B6E-FD91-098D-24D6-A48BECAB2A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0512" y="1236611"/>
            <a:ext cx="1375017" cy="1375017"/>
          </a:xfrm>
          <a:prstGeom prst="rect">
            <a:avLst/>
          </a:prstGeom>
          <a:ln>
            <a:noFill/>
          </a:ln>
          <a:effectLst/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ABE729A-3D60-F12C-EF1F-47CAA292C0F8}"/>
              </a:ext>
            </a:extLst>
          </p:cNvPr>
          <p:cNvSpPr txBox="1"/>
          <p:nvPr/>
        </p:nvSpPr>
        <p:spPr>
          <a:xfrm>
            <a:off x="634614" y="2713087"/>
            <a:ext cx="382969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Mackay Miller is a partner at ERM, focusing on developing decarbonization pathways and energy transition strategies for energy, financial, and non-profit clients. From 2015-2022 he was a director of corporate strategy for National Grid US. From 2009-2015 he worked at the US Department of Energy’s National Renewable Energy Laboratory. He holds an MBA from the University of Colorado, Boulder and a Bachelor of International Relations from Brown University. Mackay was a Rhode Island resident from 1997 to 2008.</a:t>
            </a:r>
          </a:p>
          <a:p>
            <a:pPr marR="0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+mj-lt"/>
                <a:hlinkClick r:id="rId3"/>
              </a:rPr>
              <a:t>Mackay.Miller@erm.com</a:t>
            </a:r>
            <a:r>
              <a:rPr lang="en-US" sz="1400" dirty="0">
                <a:latin typeface="+mj-lt"/>
              </a:rPr>
              <a:t> </a:t>
            </a: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3CBDA4AE-C9F7-1A43-00AB-703AE95F1895}"/>
              </a:ext>
            </a:extLst>
          </p:cNvPr>
          <p:cNvGrpSpPr/>
          <p:nvPr/>
        </p:nvGrpSpPr>
        <p:grpSpPr>
          <a:xfrm>
            <a:off x="5439206" y="1364559"/>
            <a:ext cx="6911985" cy="5744044"/>
            <a:chOff x="685799" y="1342556"/>
            <a:chExt cx="6911985" cy="5744044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4464F88-6ED4-B2CB-DAB0-DA624E7A4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001" y="1897333"/>
              <a:ext cx="5223599" cy="2453962"/>
            </a:xfrm>
            <a:prstGeom prst="rect">
              <a:avLst/>
            </a:prstGeom>
          </p:spPr>
        </p:pic>
        <p:sp>
          <p:nvSpPr>
            <p:cNvPr id="19" name="Text Placeholder 84">
              <a:extLst>
                <a:ext uri="{FF2B5EF4-FFF2-40B4-BE49-F238E27FC236}">
                  <a16:creationId xmlns:a16="http://schemas.microsoft.com/office/drawing/2014/main" id="{75E0EF58-F0CC-A37C-93A4-734D6E403153}"/>
                </a:ext>
              </a:extLst>
            </p:cNvPr>
            <p:cNvSpPr txBox="1">
              <a:spLocks/>
            </p:cNvSpPr>
            <p:nvPr/>
          </p:nvSpPr>
          <p:spPr>
            <a:xfrm>
              <a:off x="685799" y="1342556"/>
              <a:ext cx="6440179" cy="370472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b="0" dirty="0"/>
                <a:t>ERM is a technical consulting firm with over 7,000 people in over 40 countries and territories working out of more than 160 offices. </a:t>
              </a: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5624AA88-4D39-D3CB-5A85-240907E5E152}"/>
                </a:ext>
              </a:extLst>
            </p:cNvPr>
            <p:cNvGrpSpPr/>
            <p:nvPr/>
          </p:nvGrpSpPr>
          <p:grpSpPr>
            <a:xfrm>
              <a:off x="3989264" y="5517776"/>
              <a:ext cx="3136715" cy="473296"/>
              <a:chOff x="4672198" y="4754507"/>
              <a:chExt cx="3136715" cy="473296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B2BF4C5D-2853-4EC2-062C-ECCA4BFEF269}"/>
                  </a:ext>
                </a:extLst>
              </p:cNvPr>
              <p:cNvGrpSpPr/>
              <p:nvPr/>
            </p:nvGrpSpPr>
            <p:grpSpPr>
              <a:xfrm>
                <a:off x="4672198" y="4806854"/>
                <a:ext cx="282575" cy="284163"/>
                <a:chOff x="5167313" y="2454276"/>
                <a:chExt cx="282575" cy="284163"/>
              </a:xfrm>
              <a:noFill/>
            </p:grpSpPr>
            <p:sp>
              <p:nvSpPr>
                <p:cNvPr id="66" name="Freeform 953">
                  <a:extLst>
                    <a:ext uri="{FF2B5EF4-FFF2-40B4-BE49-F238E27FC236}">
                      <a16:creationId xmlns:a16="http://schemas.microsoft.com/office/drawing/2014/main" id="{EAFBD1D7-C4EC-BC8C-2900-8A8743A15A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8275" y="2501901"/>
                  <a:ext cx="61913" cy="130175"/>
                </a:xfrm>
                <a:custGeom>
                  <a:avLst/>
                  <a:gdLst>
                    <a:gd name="T0" fmla="*/ 314 w 314"/>
                    <a:gd name="T1" fmla="*/ 206 h 664"/>
                    <a:gd name="T2" fmla="*/ 314 w 314"/>
                    <a:gd name="T3" fmla="*/ 196 h 664"/>
                    <a:gd name="T4" fmla="*/ 185 w 314"/>
                    <a:gd name="T5" fmla="*/ 42 h 664"/>
                    <a:gd name="T6" fmla="*/ 185 w 314"/>
                    <a:gd name="T7" fmla="*/ 0 h 664"/>
                    <a:gd name="T8" fmla="*/ 129 w 314"/>
                    <a:gd name="T9" fmla="*/ 0 h 664"/>
                    <a:gd name="T10" fmla="*/ 129 w 314"/>
                    <a:gd name="T11" fmla="*/ 42 h 664"/>
                    <a:gd name="T12" fmla="*/ 0 w 314"/>
                    <a:gd name="T13" fmla="*/ 196 h 664"/>
                    <a:gd name="T14" fmla="*/ 115 w 314"/>
                    <a:gd name="T15" fmla="*/ 347 h 664"/>
                    <a:gd name="T16" fmla="*/ 144 w 314"/>
                    <a:gd name="T17" fmla="*/ 357 h 664"/>
                    <a:gd name="T18" fmla="*/ 193 w 314"/>
                    <a:gd name="T19" fmla="*/ 375 h 664"/>
                    <a:gd name="T20" fmla="*/ 259 w 314"/>
                    <a:gd name="T21" fmla="*/ 469 h 664"/>
                    <a:gd name="T22" fmla="*/ 157 w 314"/>
                    <a:gd name="T23" fmla="*/ 570 h 664"/>
                    <a:gd name="T24" fmla="*/ 55 w 314"/>
                    <a:gd name="T25" fmla="*/ 471 h 664"/>
                    <a:gd name="T26" fmla="*/ 55 w 314"/>
                    <a:gd name="T27" fmla="*/ 462 h 664"/>
                    <a:gd name="T28" fmla="*/ 0 w 314"/>
                    <a:gd name="T29" fmla="*/ 462 h 664"/>
                    <a:gd name="T30" fmla="*/ 0 w 314"/>
                    <a:gd name="T31" fmla="*/ 471 h 664"/>
                    <a:gd name="T32" fmla="*/ 129 w 314"/>
                    <a:gd name="T33" fmla="*/ 623 h 664"/>
                    <a:gd name="T34" fmla="*/ 129 w 314"/>
                    <a:gd name="T35" fmla="*/ 664 h 664"/>
                    <a:gd name="T36" fmla="*/ 185 w 314"/>
                    <a:gd name="T37" fmla="*/ 664 h 664"/>
                    <a:gd name="T38" fmla="*/ 185 w 314"/>
                    <a:gd name="T39" fmla="*/ 623 h 664"/>
                    <a:gd name="T40" fmla="*/ 314 w 314"/>
                    <a:gd name="T41" fmla="*/ 469 h 664"/>
                    <a:gd name="T42" fmla="*/ 278 w 314"/>
                    <a:gd name="T43" fmla="*/ 370 h 664"/>
                    <a:gd name="T44" fmla="*/ 192 w 314"/>
                    <a:gd name="T45" fmla="*/ 316 h 664"/>
                    <a:gd name="T46" fmla="*/ 169 w 314"/>
                    <a:gd name="T47" fmla="*/ 308 h 664"/>
                    <a:gd name="T48" fmla="*/ 94 w 314"/>
                    <a:gd name="T49" fmla="*/ 274 h 664"/>
                    <a:gd name="T50" fmla="*/ 55 w 314"/>
                    <a:gd name="T51" fmla="*/ 196 h 664"/>
                    <a:gd name="T52" fmla="*/ 157 w 314"/>
                    <a:gd name="T53" fmla="*/ 95 h 664"/>
                    <a:gd name="T54" fmla="*/ 259 w 314"/>
                    <a:gd name="T55" fmla="*/ 196 h 664"/>
                    <a:gd name="T56" fmla="*/ 259 w 314"/>
                    <a:gd name="T57" fmla="*/ 206 h 664"/>
                    <a:gd name="T58" fmla="*/ 314 w 314"/>
                    <a:gd name="T59" fmla="*/ 206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14" h="664">
                      <a:moveTo>
                        <a:pt x="314" y="206"/>
                      </a:moveTo>
                      <a:lnTo>
                        <a:pt x="314" y="196"/>
                      </a:lnTo>
                      <a:cubicBezTo>
                        <a:pt x="314" y="119"/>
                        <a:pt x="258" y="55"/>
                        <a:pt x="185" y="42"/>
                      </a:cubicBezTo>
                      <a:lnTo>
                        <a:pt x="185" y="0"/>
                      </a:lnTo>
                      <a:lnTo>
                        <a:pt x="129" y="0"/>
                      </a:lnTo>
                      <a:lnTo>
                        <a:pt x="129" y="42"/>
                      </a:lnTo>
                      <a:cubicBezTo>
                        <a:pt x="56" y="55"/>
                        <a:pt x="0" y="119"/>
                        <a:pt x="0" y="196"/>
                      </a:cubicBezTo>
                      <a:cubicBezTo>
                        <a:pt x="0" y="263"/>
                        <a:pt x="44" y="320"/>
                        <a:pt x="115" y="347"/>
                      </a:cubicBezTo>
                      <a:cubicBezTo>
                        <a:pt x="124" y="350"/>
                        <a:pt x="134" y="354"/>
                        <a:pt x="144" y="357"/>
                      </a:cubicBezTo>
                      <a:cubicBezTo>
                        <a:pt x="160" y="362"/>
                        <a:pt x="177" y="368"/>
                        <a:pt x="193" y="375"/>
                      </a:cubicBezTo>
                      <a:cubicBezTo>
                        <a:pt x="235" y="395"/>
                        <a:pt x="259" y="429"/>
                        <a:pt x="259" y="469"/>
                      </a:cubicBezTo>
                      <a:cubicBezTo>
                        <a:pt x="259" y="525"/>
                        <a:pt x="213" y="570"/>
                        <a:pt x="157" y="570"/>
                      </a:cubicBezTo>
                      <a:cubicBezTo>
                        <a:pt x="102" y="570"/>
                        <a:pt x="56" y="525"/>
                        <a:pt x="55" y="471"/>
                      </a:cubicBezTo>
                      <a:lnTo>
                        <a:pt x="55" y="462"/>
                      </a:lnTo>
                      <a:lnTo>
                        <a:pt x="0" y="462"/>
                      </a:lnTo>
                      <a:lnTo>
                        <a:pt x="0" y="471"/>
                      </a:lnTo>
                      <a:cubicBezTo>
                        <a:pt x="1" y="547"/>
                        <a:pt x="57" y="610"/>
                        <a:pt x="129" y="623"/>
                      </a:cubicBezTo>
                      <a:lnTo>
                        <a:pt x="129" y="664"/>
                      </a:lnTo>
                      <a:lnTo>
                        <a:pt x="185" y="664"/>
                      </a:lnTo>
                      <a:lnTo>
                        <a:pt x="185" y="623"/>
                      </a:lnTo>
                      <a:cubicBezTo>
                        <a:pt x="258" y="610"/>
                        <a:pt x="314" y="546"/>
                        <a:pt x="314" y="469"/>
                      </a:cubicBezTo>
                      <a:cubicBezTo>
                        <a:pt x="314" y="433"/>
                        <a:pt x="302" y="401"/>
                        <a:pt x="278" y="370"/>
                      </a:cubicBezTo>
                      <a:cubicBezTo>
                        <a:pt x="255" y="341"/>
                        <a:pt x="220" y="325"/>
                        <a:pt x="192" y="316"/>
                      </a:cubicBezTo>
                      <a:cubicBezTo>
                        <a:pt x="185" y="313"/>
                        <a:pt x="177" y="310"/>
                        <a:pt x="169" y="308"/>
                      </a:cubicBezTo>
                      <a:cubicBezTo>
                        <a:pt x="143" y="299"/>
                        <a:pt x="116" y="290"/>
                        <a:pt x="94" y="274"/>
                      </a:cubicBezTo>
                      <a:cubicBezTo>
                        <a:pt x="70" y="256"/>
                        <a:pt x="55" y="227"/>
                        <a:pt x="55" y="196"/>
                      </a:cubicBezTo>
                      <a:cubicBezTo>
                        <a:pt x="55" y="140"/>
                        <a:pt x="101" y="95"/>
                        <a:pt x="157" y="95"/>
                      </a:cubicBezTo>
                      <a:cubicBezTo>
                        <a:pt x="213" y="95"/>
                        <a:pt x="259" y="140"/>
                        <a:pt x="259" y="196"/>
                      </a:cubicBezTo>
                      <a:lnTo>
                        <a:pt x="259" y="206"/>
                      </a:lnTo>
                      <a:lnTo>
                        <a:pt x="314" y="206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7" name="Oval 954">
                  <a:extLst>
                    <a:ext uri="{FF2B5EF4-FFF2-40B4-BE49-F238E27FC236}">
                      <a16:creationId xmlns:a16="http://schemas.microsoft.com/office/drawing/2014/main" id="{6F7ED5F8-CEC9-B2E9-4A7E-191F7FB85B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67313" y="2454276"/>
                  <a:ext cx="225425" cy="227013"/>
                </a:xfrm>
                <a:prstGeom prst="ellipse">
                  <a:avLst/>
                </a:prstGeom>
                <a:grpFill/>
                <a:ln w="12700" cap="rnd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8" name="Freeform 955">
                  <a:extLst>
                    <a:ext uri="{FF2B5EF4-FFF2-40B4-BE49-F238E27FC236}">
                      <a16:creationId xmlns:a16="http://schemas.microsoft.com/office/drawing/2014/main" id="{124A2205-D6B0-8D36-219C-87CB826F5D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3200" y="2570164"/>
                  <a:ext cx="128588" cy="130175"/>
                </a:xfrm>
                <a:custGeom>
                  <a:avLst/>
                  <a:gdLst>
                    <a:gd name="T0" fmla="*/ 0 w 660"/>
                    <a:gd name="T1" fmla="*/ 659 h 659"/>
                    <a:gd name="T2" fmla="*/ 660 w 660"/>
                    <a:gd name="T3" fmla="*/ 0 h 6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660" h="659">
                      <a:moveTo>
                        <a:pt x="0" y="659"/>
                      </a:moveTo>
                      <a:cubicBezTo>
                        <a:pt x="365" y="659"/>
                        <a:pt x="660" y="364"/>
                        <a:pt x="660" y="0"/>
                      </a:cubicBezTo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9" name="Freeform 956">
                  <a:extLst>
                    <a:ext uri="{FF2B5EF4-FFF2-40B4-BE49-F238E27FC236}">
                      <a16:creationId xmlns:a16="http://schemas.microsoft.com/office/drawing/2014/main" id="{D1C06A6F-3DB4-8050-469E-B5F83FE4D9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2575" y="2651126"/>
                  <a:ext cx="87313" cy="87313"/>
                </a:xfrm>
                <a:custGeom>
                  <a:avLst/>
                  <a:gdLst>
                    <a:gd name="T0" fmla="*/ 107 w 445"/>
                    <a:gd name="T1" fmla="*/ 0 h 446"/>
                    <a:gd name="T2" fmla="*/ 415 w 445"/>
                    <a:gd name="T3" fmla="*/ 308 h 446"/>
                    <a:gd name="T4" fmla="*/ 415 w 445"/>
                    <a:gd name="T5" fmla="*/ 416 h 446"/>
                    <a:gd name="T6" fmla="*/ 415 w 445"/>
                    <a:gd name="T7" fmla="*/ 416 h 446"/>
                    <a:gd name="T8" fmla="*/ 307 w 445"/>
                    <a:gd name="T9" fmla="*/ 416 h 446"/>
                    <a:gd name="T10" fmla="*/ 0 w 445"/>
                    <a:gd name="T11" fmla="*/ 108 h 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5" h="446">
                      <a:moveTo>
                        <a:pt x="107" y="0"/>
                      </a:moveTo>
                      <a:lnTo>
                        <a:pt x="415" y="308"/>
                      </a:lnTo>
                      <a:cubicBezTo>
                        <a:pt x="445" y="338"/>
                        <a:pt x="445" y="386"/>
                        <a:pt x="415" y="416"/>
                      </a:cubicBezTo>
                      <a:lnTo>
                        <a:pt x="415" y="416"/>
                      </a:lnTo>
                      <a:cubicBezTo>
                        <a:pt x="386" y="446"/>
                        <a:pt x="337" y="446"/>
                        <a:pt x="307" y="416"/>
                      </a:cubicBezTo>
                      <a:lnTo>
                        <a:pt x="0" y="108"/>
                      </a:lnTo>
                    </a:path>
                  </a:pathLst>
                </a:custGeom>
                <a:grpFill/>
                <a:ln w="12700" cap="rnd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sp>
            <p:nvSpPr>
              <p:cNvPr id="74" name="Content Placeholder 2">
                <a:extLst>
                  <a:ext uri="{FF2B5EF4-FFF2-40B4-BE49-F238E27FC236}">
                    <a16:creationId xmlns:a16="http://schemas.microsoft.com/office/drawing/2014/main" id="{CA91D030-0367-2769-33E4-FEED72E2952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15183" y="4754507"/>
                <a:ext cx="2793730" cy="473296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00000"/>
                  </a:lnSpc>
                  <a:spcBef>
                    <a:spcPts val="992"/>
                  </a:spcBef>
                  <a:spcAft>
                    <a:spcPts val="992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66700" indent="-2667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39750" indent="-2730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06450" indent="-2667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>
                    <a:solidFill>
                      <a:schemeClr val="accent1"/>
                    </a:solidFill>
                  </a:rPr>
                  <a:t>Liability Portfolio Management and Remediation </a:t>
                </a:r>
                <a:endParaRPr lang="en-US" sz="1100" dirty="0"/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AFED2B71-21E4-0B7F-C995-538221B56C4D}"/>
                </a:ext>
              </a:extLst>
            </p:cNvPr>
            <p:cNvGrpSpPr/>
            <p:nvPr/>
          </p:nvGrpSpPr>
          <p:grpSpPr>
            <a:xfrm>
              <a:off x="685800" y="4953000"/>
              <a:ext cx="3671510" cy="2133600"/>
              <a:chOff x="609600" y="4953000"/>
              <a:chExt cx="3671510" cy="2133600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30545615-E8E7-82D4-4862-62F354F0365C}"/>
                  </a:ext>
                </a:extLst>
              </p:cNvPr>
              <p:cNvGrpSpPr/>
              <p:nvPr/>
            </p:nvGrpSpPr>
            <p:grpSpPr>
              <a:xfrm>
                <a:off x="609600" y="4953000"/>
                <a:ext cx="2635302" cy="472871"/>
                <a:chOff x="673505" y="1431965"/>
                <a:chExt cx="2635302" cy="472871"/>
              </a:xfrm>
            </p:grpSpPr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537EE345-2DBF-90BA-3D86-538F58FE7777}"/>
                    </a:ext>
                  </a:extLst>
                </p:cNvPr>
                <p:cNvGrpSpPr/>
                <p:nvPr/>
              </p:nvGrpSpPr>
              <p:grpSpPr>
                <a:xfrm>
                  <a:off x="673505" y="1449788"/>
                  <a:ext cx="307057" cy="375005"/>
                  <a:chOff x="96635" y="1632737"/>
                  <a:chExt cx="371539" cy="453756"/>
                </a:xfrm>
              </p:grpSpPr>
              <p:sp>
                <p:nvSpPr>
                  <p:cNvPr id="35" name="Freeform 5">
                    <a:extLst>
                      <a:ext uri="{FF2B5EF4-FFF2-40B4-BE49-F238E27FC236}">
                        <a16:creationId xmlns:a16="http://schemas.microsoft.com/office/drawing/2014/main" id="{0E722383-9DD7-4ABB-FB20-07E6673FA1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05546" y="1893854"/>
                    <a:ext cx="112357" cy="192639"/>
                  </a:xfrm>
                  <a:custGeom>
                    <a:avLst/>
                    <a:gdLst>
                      <a:gd name="T0" fmla="*/ 354 w 708"/>
                      <a:gd name="T1" fmla="*/ 1121 h 1121"/>
                      <a:gd name="T2" fmla="*/ 354 w 708"/>
                      <a:gd name="T3" fmla="*/ 856 h 1121"/>
                      <a:gd name="T4" fmla="*/ 0 w 708"/>
                      <a:gd name="T5" fmla="*/ 926 h 1121"/>
                      <a:gd name="T6" fmla="*/ 184 w 708"/>
                      <a:gd name="T7" fmla="*/ 607 h 1121"/>
                      <a:gd name="T8" fmla="*/ 44 w 708"/>
                      <a:gd name="T9" fmla="*/ 638 h 1121"/>
                      <a:gd name="T10" fmla="*/ 237 w 708"/>
                      <a:gd name="T11" fmla="*/ 307 h 1121"/>
                      <a:gd name="T12" fmla="*/ 115 w 708"/>
                      <a:gd name="T13" fmla="*/ 326 h 1121"/>
                      <a:gd name="T14" fmla="*/ 361 w 708"/>
                      <a:gd name="T15" fmla="*/ 0 h 1121"/>
                      <a:gd name="T16" fmla="*/ 591 w 708"/>
                      <a:gd name="T17" fmla="*/ 326 h 1121"/>
                      <a:gd name="T18" fmla="*/ 469 w 708"/>
                      <a:gd name="T19" fmla="*/ 307 h 1121"/>
                      <a:gd name="T20" fmla="*/ 662 w 708"/>
                      <a:gd name="T21" fmla="*/ 638 h 1121"/>
                      <a:gd name="T22" fmla="*/ 522 w 708"/>
                      <a:gd name="T23" fmla="*/ 607 h 1121"/>
                      <a:gd name="T24" fmla="*/ 708 w 708"/>
                      <a:gd name="T25" fmla="*/ 926 h 1121"/>
                      <a:gd name="T26" fmla="*/ 354 w 708"/>
                      <a:gd name="T27" fmla="*/ 856 h 11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08" h="1121">
                        <a:moveTo>
                          <a:pt x="354" y="1121"/>
                        </a:moveTo>
                        <a:lnTo>
                          <a:pt x="354" y="856"/>
                        </a:lnTo>
                        <a:lnTo>
                          <a:pt x="0" y="926"/>
                        </a:lnTo>
                        <a:lnTo>
                          <a:pt x="184" y="607"/>
                        </a:lnTo>
                        <a:lnTo>
                          <a:pt x="44" y="638"/>
                        </a:lnTo>
                        <a:lnTo>
                          <a:pt x="237" y="307"/>
                        </a:lnTo>
                        <a:lnTo>
                          <a:pt x="115" y="326"/>
                        </a:lnTo>
                        <a:lnTo>
                          <a:pt x="361" y="0"/>
                        </a:lnTo>
                        <a:lnTo>
                          <a:pt x="591" y="326"/>
                        </a:lnTo>
                        <a:lnTo>
                          <a:pt x="469" y="307"/>
                        </a:lnTo>
                        <a:lnTo>
                          <a:pt x="662" y="638"/>
                        </a:lnTo>
                        <a:lnTo>
                          <a:pt x="522" y="607"/>
                        </a:lnTo>
                        <a:lnTo>
                          <a:pt x="708" y="926"/>
                        </a:lnTo>
                        <a:lnTo>
                          <a:pt x="354" y="856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36" name="Freeform 6">
                    <a:extLst>
                      <a:ext uri="{FF2B5EF4-FFF2-40B4-BE49-F238E27FC236}">
                        <a16:creationId xmlns:a16="http://schemas.microsoft.com/office/drawing/2014/main" id="{F9859D33-4723-065D-804D-EE2650E19E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5147" y="1953301"/>
                    <a:ext cx="51699" cy="133192"/>
                  </a:xfrm>
                  <a:custGeom>
                    <a:avLst/>
                    <a:gdLst>
                      <a:gd name="T0" fmla="*/ 0 w 327"/>
                      <a:gd name="T1" fmla="*/ 120 h 774"/>
                      <a:gd name="T2" fmla="*/ 89 w 327"/>
                      <a:gd name="T3" fmla="*/ 0 h 774"/>
                      <a:gd name="T4" fmla="*/ 247 w 327"/>
                      <a:gd name="T5" fmla="*/ 227 h 774"/>
                      <a:gd name="T6" fmla="*/ 163 w 327"/>
                      <a:gd name="T7" fmla="*/ 211 h 774"/>
                      <a:gd name="T8" fmla="*/ 298 w 327"/>
                      <a:gd name="T9" fmla="*/ 440 h 774"/>
                      <a:gd name="T10" fmla="*/ 200 w 327"/>
                      <a:gd name="T11" fmla="*/ 420 h 774"/>
                      <a:gd name="T12" fmla="*/ 327 w 327"/>
                      <a:gd name="T13" fmla="*/ 639 h 774"/>
                      <a:gd name="T14" fmla="*/ 83 w 327"/>
                      <a:gd name="T15" fmla="*/ 591 h 774"/>
                      <a:gd name="T16" fmla="*/ 83 w 327"/>
                      <a:gd name="T17" fmla="*/ 774 h 7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27" h="774">
                        <a:moveTo>
                          <a:pt x="0" y="120"/>
                        </a:moveTo>
                        <a:lnTo>
                          <a:pt x="89" y="0"/>
                        </a:lnTo>
                        <a:lnTo>
                          <a:pt x="247" y="227"/>
                        </a:lnTo>
                        <a:lnTo>
                          <a:pt x="163" y="211"/>
                        </a:lnTo>
                        <a:lnTo>
                          <a:pt x="298" y="440"/>
                        </a:lnTo>
                        <a:lnTo>
                          <a:pt x="200" y="420"/>
                        </a:lnTo>
                        <a:lnTo>
                          <a:pt x="327" y="639"/>
                        </a:lnTo>
                        <a:lnTo>
                          <a:pt x="83" y="591"/>
                        </a:lnTo>
                        <a:lnTo>
                          <a:pt x="83" y="774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37" name="Freeform 7">
                    <a:extLst>
                      <a:ext uri="{FF2B5EF4-FFF2-40B4-BE49-F238E27FC236}">
                        <a16:creationId xmlns:a16="http://schemas.microsoft.com/office/drawing/2014/main" id="{3821B0CF-D89D-8899-4DDA-E22C29B59C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6635" y="1951044"/>
                    <a:ext cx="79270" cy="135449"/>
                  </a:xfrm>
                  <a:custGeom>
                    <a:avLst/>
                    <a:gdLst>
                      <a:gd name="T0" fmla="*/ 249 w 497"/>
                      <a:gd name="T1" fmla="*/ 788 h 788"/>
                      <a:gd name="T2" fmla="*/ 249 w 497"/>
                      <a:gd name="T3" fmla="*/ 602 h 788"/>
                      <a:gd name="T4" fmla="*/ 0 w 497"/>
                      <a:gd name="T5" fmla="*/ 652 h 788"/>
                      <a:gd name="T6" fmla="*/ 130 w 497"/>
                      <a:gd name="T7" fmla="*/ 427 h 788"/>
                      <a:gd name="T8" fmla="*/ 31 w 497"/>
                      <a:gd name="T9" fmla="*/ 449 h 788"/>
                      <a:gd name="T10" fmla="*/ 167 w 497"/>
                      <a:gd name="T11" fmla="*/ 215 h 788"/>
                      <a:gd name="T12" fmla="*/ 82 w 497"/>
                      <a:gd name="T13" fmla="*/ 231 h 788"/>
                      <a:gd name="T14" fmla="*/ 254 w 497"/>
                      <a:gd name="T15" fmla="*/ 0 h 788"/>
                      <a:gd name="T16" fmla="*/ 415 w 497"/>
                      <a:gd name="T17" fmla="*/ 231 h 788"/>
                      <a:gd name="T18" fmla="*/ 331 w 497"/>
                      <a:gd name="T19" fmla="*/ 215 h 788"/>
                      <a:gd name="T20" fmla="*/ 467 w 497"/>
                      <a:gd name="T21" fmla="*/ 449 h 788"/>
                      <a:gd name="T22" fmla="*/ 367 w 497"/>
                      <a:gd name="T23" fmla="*/ 427 h 788"/>
                      <a:gd name="T24" fmla="*/ 497 w 497"/>
                      <a:gd name="T25" fmla="*/ 652 h 788"/>
                      <a:gd name="T26" fmla="*/ 249 w 497"/>
                      <a:gd name="T27" fmla="*/ 602 h 7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97" h="788">
                        <a:moveTo>
                          <a:pt x="249" y="788"/>
                        </a:moveTo>
                        <a:lnTo>
                          <a:pt x="249" y="602"/>
                        </a:lnTo>
                        <a:lnTo>
                          <a:pt x="0" y="652"/>
                        </a:lnTo>
                        <a:lnTo>
                          <a:pt x="130" y="427"/>
                        </a:lnTo>
                        <a:lnTo>
                          <a:pt x="31" y="449"/>
                        </a:lnTo>
                        <a:lnTo>
                          <a:pt x="167" y="215"/>
                        </a:lnTo>
                        <a:lnTo>
                          <a:pt x="82" y="231"/>
                        </a:lnTo>
                        <a:lnTo>
                          <a:pt x="254" y="0"/>
                        </a:lnTo>
                        <a:lnTo>
                          <a:pt x="415" y="231"/>
                        </a:lnTo>
                        <a:lnTo>
                          <a:pt x="331" y="215"/>
                        </a:lnTo>
                        <a:lnTo>
                          <a:pt x="467" y="449"/>
                        </a:lnTo>
                        <a:lnTo>
                          <a:pt x="367" y="427"/>
                        </a:lnTo>
                        <a:lnTo>
                          <a:pt x="497" y="652"/>
                        </a:lnTo>
                        <a:lnTo>
                          <a:pt x="249" y="602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38" name="Freeform 8">
                    <a:extLst>
                      <a:ext uri="{FF2B5EF4-FFF2-40B4-BE49-F238E27FC236}">
                        <a16:creationId xmlns:a16="http://schemas.microsoft.com/office/drawing/2014/main" id="{279CAF92-51D3-C56A-90F3-D9AC559696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2809" y="1921696"/>
                    <a:ext cx="50320" cy="55685"/>
                  </a:xfrm>
                  <a:custGeom>
                    <a:avLst/>
                    <a:gdLst>
                      <a:gd name="T0" fmla="*/ 22 w 319"/>
                      <a:gd name="T1" fmla="*/ 309 h 323"/>
                      <a:gd name="T2" fmla="*/ 82 w 319"/>
                      <a:gd name="T3" fmla="*/ 205 h 323"/>
                      <a:gd name="T4" fmla="*/ 0 w 319"/>
                      <a:gd name="T5" fmla="*/ 218 h 323"/>
                      <a:gd name="T6" fmla="*/ 165 w 319"/>
                      <a:gd name="T7" fmla="*/ 0 h 323"/>
                      <a:gd name="T8" fmla="*/ 319 w 319"/>
                      <a:gd name="T9" fmla="*/ 218 h 323"/>
                      <a:gd name="T10" fmla="*/ 237 w 319"/>
                      <a:gd name="T11" fmla="*/ 205 h 323"/>
                      <a:gd name="T12" fmla="*/ 307 w 319"/>
                      <a:gd name="T13" fmla="*/ 323 h 3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19" h="323">
                        <a:moveTo>
                          <a:pt x="22" y="309"/>
                        </a:moveTo>
                        <a:lnTo>
                          <a:pt x="82" y="205"/>
                        </a:lnTo>
                        <a:lnTo>
                          <a:pt x="0" y="218"/>
                        </a:lnTo>
                        <a:lnTo>
                          <a:pt x="165" y="0"/>
                        </a:lnTo>
                        <a:lnTo>
                          <a:pt x="319" y="218"/>
                        </a:lnTo>
                        <a:lnTo>
                          <a:pt x="237" y="205"/>
                        </a:lnTo>
                        <a:lnTo>
                          <a:pt x="307" y="323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39" name="Freeform 9">
                    <a:extLst>
                      <a:ext uri="{FF2B5EF4-FFF2-40B4-BE49-F238E27FC236}">
                        <a16:creationId xmlns:a16="http://schemas.microsoft.com/office/drawing/2014/main" id="{1A4C0675-F5F6-0720-F54B-7D52A07C90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4468" y="1632737"/>
                    <a:ext cx="11028" cy="66972"/>
                  </a:xfrm>
                  <a:custGeom>
                    <a:avLst/>
                    <a:gdLst>
                      <a:gd name="T0" fmla="*/ 36 w 71"/>
                      <a:gd name="T1" fmla="*/ 388 h 388"/>
                      <a:gd name="T2" fmla="*/ 0 w 71"/>
                      <a:gd name="T3" fmla="*/ 353 h 388"/>
                      <a:gd name="T4" fmla="*/ 0 w 71"/>
                      <a:gd name="T5" fmla="*/ 35 h 388"/>
                      <a:gd name="T6" fmla="*/ 36 w 71"/>
                      <a:gd name="T7" fmla="*/ 0 h 388"/>
                      <a:gd name="T8" fmla="*/ 71 w 71"/>
                      <a:gd name="T9" fmla="*/ 35 h 388"/>
                      <a:gd name="T10" fmla="*/ 71 w 71"/>
                      <a:gd name="T11" fmla="*/ 353 h 388"/>
                      <a:gd name="T12" fmla="*/ 36 w 71"/>
                      <a:gd name="T13" fmla="*/ 388 h 3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1" h="388">
                        <a:moveTo>
                          <a:pt x="36" y="388"/>
                        </a:moveTo>
                        <a:cubicBezTo>
                          <a:pt x="16" y="388"/>
                          <a:pt x="0" y="372"/>
                          <a:pt x="0" y="353"/>
                        </a:cubicBezTo>
                        <a:lnTo>
                          <a:pt x="0" y="35"/>
                        </a:lnTo>
                        <a:cubicBezTo>
                          <a:pt x="0" y="16"/>
                          <a:pt x="16" y="0"/>
                          <a:pt x="36" y="0"/>
                        </a:cubicBezTo>
                        <a:cubicBezTo>
                          <a:pt x="55" y="0"/>
                          <a:pt x="71" y="16"/>
                          <a:pt x="71" y="35"/>
                        </a:cubicBezTo>
                        <a:lnTo>
                          <a:pt x="71" y="353"/>
                        </a:lnTo>
                        <a:cubicBezTo>
                          <a:pt x="71" y="372"/>
                          <a:pt x="55" y="388"/>
                          <a:pt x="36" y="388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0" name="Freeform 10">
                    <a:extLst>
                      <a:ext uri="{FF2B5EF4-FFF2-40B4-BE49-F238E27FC236}">
                        <a16:creationId xmlns:a16="http://schemas.microsoft.com/office/drawing/2014/main" id="{22E998F7-D4B9-D00E-C2E6-8A34DA4F065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15196" y="1717770"/>
                    <a:ext cx="173017" cy="319059"/>
                  </a:xfrm>
                  <a:custGeom>
                    <a:avLst/>
                    <a:gdLst>
                      <a:gd name="T0" fmla="*/ 988 w 1086"/>
                      <a:gd name="T1" fmla="*/ 1855 h 1855"/>
                      <a:gd name="T2" fmla="*/ 988 w 1086"/>
                      <a:gd name="T3" fmla="*/ 70 h 1855"/>
                      <a:gd name="T4" fmla="*/ 71 w 1086"/>
                      <a:gd name="T5" fmla="*/ 70 h 1855"/>
                      <a:gd name="T6" fmla="*/ 71 w 1086"/>
                      <a:gd name="T7" fmla="*/ 1164 h 1855"/>
                      <a:gd name="T8" fmla="*/ 36 w 1086"/>
                      <a:gd name="T9" fmla="*/ 1199 h 1855"/>
                      <a:gd name="T10" fmla="*/ 0 w 1086"/>
                      <a:gd name="T11" fmla="*/ 1164 h 1855"/>
                      <a:gd name="T12" fmla="*/ 0 w 1086"/>
                      <a:gd name="T13" fmla="*/ 35 h 1855"/>
                      <a:gd name="T14" fmla="*/ 36 w 1086"/>
                      <a:gd name="T15" fmla="*/ 0 h 1855"/>
                      <a:gd name="T16" fmla="*/ 1024 w 1086"/>
                      <a:gd name="T17" fmla="*/ 0 h 1855"/>
                      <a:gd name="T18" fmla="*/ 1059 w 1086"/>
                      <a:gd name="T19" fmla="*/ 35 h 1855"/>
                      <a:gd name="T20" fmla="*/ 1051 w 1086"/>
                      <a:gd name="T21" fmla="*/ 1855 h 1855"/>
                      <a:gd name="T22" fmla="*/ 988 w 1086"/>
                      <a:gd name="T23" fmla="*/ 1855 h 18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086" h="1855">
                        <a:moveTo>
                          <a:pt x="988" y="1855"/>
                        </a:moveTo>
                        <a:lnTo>
                          <a:pt x="988" y="70"/>
                        </a:lnTo>
                        <a:lnTo>
                          <a:pt x="71" y="70"/>
                        </a:lnTo>
                        <a:lnTo>
                          <a:pt x="71" y="1164"/>
                        </a:lnTo>
                        <a:cubicBezTo>
                          <a:pt x="71" y="1184"/>
                          <a:pt x="55" y="1199"/>
                          <a:pt x="36" y="1199"/>
                        </a:cubicBezTo>
                        <a:cubicBezTo>
                          <a:pt x="16" y="1199"/>
                          <a:pt x="0" y="1184"/>
                          <a:pt x="0" y="1164"/>
                        </a:cubicBezTo>
                        <a:lnTo>
                          <a:pt x="0" y="35"/>
                        </a:lnTo>
                        <a:cubicBezTo>
                          <a:pt x="0" y="16"/>
                          <a:pt x="16" y="0"/>
                          <a:pt x="36" y="0"/>
                        </a:cubicBezTo>
                        <a:lnTo>
                          <a:pt x="1024" y="0"/>
                        </a:lnTo>
                        <a:cubicBezTo>
                          <a:pt x="1043" y="0"/>
                          <a:pt x="1059" y="16"/>
                          <a:pt x="1059" y="35"/>
                        </a:cubicBezTo>
                        <a:cubicBezTo>
                          <a:pt x="1059" y="193"/>
                          <a:pt x="1086" y="1456"/>
                          <a:pt x="1051" y="1855"/>
                        </a:cubicBezTo>
                        <a:lnTo>
                          <a:pt x="988" y="1855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1" name="Freeform 11">
                    <a:extLst>
                      <a:ext uri="{FF2B5EF4-FFF2-40B4-BE49-F238E27FC236}">
                        <a16:creationId xmlns:a16="http://schemas.microsoft.com/office/drawing/2014/main" id="{153A8716-D393-EEC9-4B2F-BF83821EFA3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43458" y="1687670"/>
                    <a:ext cx="112357" cy="42139"/>
                  </a:xfrm>
                  <a:custGeom>
                    <a:avLst/>
                    <a:gdLst>
                      <a:gd name="T0" fmla="*/ 70 w 705"/>
                      <a:gd name="T1" fmla="*/ 176 h 246"/>
                      <a:gd name="T2" fmla="*/ 635 w 705"/>
                      <a:gd name="T3" fmla="*/ 176 h 246"/>
                      <a:gd name="T4" fmla="*/ 635 w 705"/>
                      <a:gd name="T5" fmla="*/ 70 h 246"/>
                      <a:gd name="T6" fmla="*/ 70 w 705"/>
                      <a:gd name="T7" fmla="*/ 70 h 246"/>
                      <a:gd name="T8" fmla="*/ 70 w 705"/>
                      <a:gd name="T9" fmla="*/ 176 h 246"/>
                      <a:gd name="T10" fmla="*/ 670 w 705"/>
                      <a:gd name="T11" fmla="*/ 246 h 246"/>
                      <a:gd name="T12" fmla="*/ 35 w 705"/>
                      <a:gd name="T13" fmla="*/ 246 h 246"/>
                      <a:gd name="T14" fmla="*/ 0 w 705"/>
                      <a:gd name="T15" fmla="*/ 211 h 246"/>
                      <a:gd name="T16" fmla="*/ 0 w 705"/>
                      <a:gd name="T17" fmla="*/ 35 h 246"/>
                      <a:gd name="T18" fmla="*/ 35 w 705"/>
                      <a:gd name="T19" fmla="*/ 0 h 246"/>
                      <a:gd name="T20" fmla="*/ 670 w 705"/>
                      <a:gd name="T21" fmla="*/ 0 h 246"/>
                      <a:gd name="T22" fmla="*/ 705 w 705"/>
                      <a:gd name="T23" fmla="*/ 35 h 246"/>
                      <a:gd name="T24" fmla="*/ 705 w 705"/>
                      <a:gd name="T25" fmla="*/ 211 h 246"/>
                      <a:gd name="T26" fmla="*/ 670 w 705"/>
                      <a:gd name="T27" fmla="*/ 246 h 2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05" h="246">
                        <a:moveTo>
                          <a:pt x="70" y="176"/>
                        </a:moveTo>
                        <a:lnTo>
                          <a:pt x="635" y="176"/>
                        </a:lnTo>
                        <a:lnTo>
                          <a:pt x="635" y="70"/>
                        </a:lnTo>
                        <a:lnTo>
                          <a:pt x="70" y="70"/>
                        </a:lnTo>
                        <a:lnTo>
                          <a:pt x="70" y="176"/>
                        </a:lnTo>
                        <a:close/>
                        <a:moveTo>
                          <a:pt x="670" y="246"/>
                        </a:moveTo>
                        <a:lnTo>
                          <a:pt x="35" y="246"/>
                        </a:lnTo>
                        <a:cubicBezTo>
                          <a:pt x="16" y="246"/>
                          <a:pt x="0" y="231"/>
                          <a:pt x="0" y="211"/>
                        </a:cubicBezTo>
                        <a:lnTo>
                          <a:pt x="0" y="35"/>
                        </a:lnTo>
                        <a:cubicBezTo>
                          <a:pt x="0" y="15"/>
                          <a:pt x="16" y="0"/>
                          <a:pt x="35" y="0"/>
                        </a:cubicBezTo>
                        <a:lnTo>
                          <a:pt x="670" y="0"/>
                        </a:lnTo>
                        <a:cubicBezTo>
                          <a:pt x="690" y="0"/>
                          <a:pt x="705" y="15"/>
                          <a:pt x="705" y="35"/>
                        </a:cubicBezTo>
                        <a:lnTo>
                          <a:pt x="705" y="211"/>
                        </a:lnTo>
                        <a:cubicBezTo>
                          <a:pt x="705" y="231"/>
                          <a:pt x="690" y="246"/>
                          <a:pt x="670" y="246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2" name="Freeform 12">
                    <a:extLst>
                      <a:ext uri="{FF2B5EF4-FFF2-40B4-BE49-F238E27FC236}">
                        <a16:creationId xmlns:a16="http://schemas.microsoft.com/office/drawing/2014/main" id="{71BB1006-9A2F-E08E-627E-3248C2D1CA0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458" y="1753889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0 h 70"/>
                      <a:gd name="T2" fmla="*/ 35 w 282"/>
                      <a:gd name="T3" fmla="*/ 70 h 70"/>
                      <a:gd name="T4" fmla="*/ 0 w 282"/>
                      <a:gd name="T5" fmla="*/ 35 h 70"/>
                      <a:gd name="T6" fmla="*/ 35 w 282"/>
                      <a:gd name="T7" fmla="*/ 0 h 70"/>
                      <a:gd name="T8" fmla="*/ 247 w 282"/>
                      <a:gd name="T9" fmla="*/ 0 h 70"/>
                      <a:gd name="T10" fmla="*/ 282 w 282"/>
                      <a:gd name="T11" fmla="*/ 35 h 70"/>
                      <a:gd name="T12" fmla="*/ 247 w 282"/>
                      <a:gd name="T13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0">
                        <a:moveTo>
                          <a:pt x="247" y="70"/>
                        </a:moveTo>
                        <a:lnTo>
                          <a:pt x="35" y="70"/>
                        </a:lnTo>
                        <a:cubicBezTo>
                          <a:pt x="16" y="70"/>
                          <a:pt x="0" y="54"/>
                          <a:pt x="0" y="35"/>
                        </a:cubicBezTo>
                        <a:cubicBezTo>
                          <a:pt x="0" y="15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6" y="0"/>
                          <a:pt x="282" y="15"/>
                          <a:pt x="282" y="35"/>
                        </a:cubicBezTo>
                        <a:cubicBezTo>
                          <a:pt x="282" y="54"/>
                          <a:pt x="266" y="70"/>
                          <a:pt x="247" y="7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3" name="Freeform 13">
                    <a:extLst>
                      <a:ext uri="{FF2B5EF4-FFF2-40B4-BE49-F238E27FC236}">
                        <a16:creationId xmlns:a16="http://schemas.microsoft.com/office/drawing/2014/main" id="{2F942C6A-7183-D9BC-0372-36872E789C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1010" y="1753889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0 h 70"/>
                      <a:gd name="T2" fmla="*/ 35 w 282"/>
                      <a:gd name="T3" fmla="*/ 70 h 70"/>
                      <a:gd name="T4" fmla="*/ 0 w 282"/>
                      <a:gd name="T5" fmla="*/ 35 h 70"/>
                      <a:gd name="T6" fmla="*/ 35 w 282"/>
                      <a:gd name="T7" fmla="*/ 0 h 70"/>
                      <a:gd name="T8" fmla="*/ 247 w 282"/>
                      <a:gd name="T9" fmla="*/ 0 h 70"/>
                      <a:gd name="T10" fmla="*/ 282 w 282"/>
                      <a:gd name="T11" fmla="*/ 35 h 70"/>
                      <a:gd name="T12" fmla="*/ 247 w 282"/>
                      <a:gd name="T13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0">
                        <a:moveTo>
                          <a:pt x="247" y="70"/>
                        </a:moveTo>
                        <a:lnTo>
                          <a:pt x="35" y="70"/>
                        </a:lnTo>
                        <a:cubicBezTo>
                          <a:pt x="16" y="70"/>
                          <a:pt x="0" y="54"/>
                          <a:pt x="0" y="35"/>
                        </a:cubicBezTo>
                        <a:cubicBezTo>
                          <a:pt x="0" y="15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7" y="0"/>
                          <a:pt x="282" y="15"/>
                          <a:pt x="282" y="35"/>
                        </a:cubicBezTo>
                        <a:cubicBezTo>
                          <a:pt x="282" y="54"/>
                          <a:pt x="267" y="70"/>
                          <a:pt x="247" y="7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4" name="Freeform 14">
                    <a:extLst>
                      <a:ext uri="{FF2B5EF4-FFF2-40B4-BE49-F238E27FC236}">
                        <a16:creationId xmlns:a16="http://schemas.microsoft.com/office/drawing/2014/main" id="{5F65FE76-2F75-EAF1-B409-55966A0ED3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458" y="1802801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0 h 70"/>
                      <a:gd name="T2" fmla="*/ 35 w 282"/>
                      <a:gd name="T3" fmla="*/ 70 h 70"/>
                      <a:gd name="T4" fmla="*/ 0 w 282"/>
                      <a:gd name="T5" fmla="*/ 35 h 70"/>
                      <a:gd name="T6" fmla="*/ 35 w 282"/>
                      <a:gd name="T7" fmla="*/ 0 h 70"/>
                      <a:gd name="T8" fmla="*/ 247 w 282"/>
                      <a:gd name="T9" fmla="*/ 0 h 70"/>
                      <a:gd name="T10" fmla="*/ 282 w 282"/>
                      <a:gd name="T11" fmla="*/ 35 h 70"/>
                      <a:gd name="T12" fmla="*/ 247 w 282"/>
                      <a:gd name="T13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0">
                        <a:moveTo>
                          <a:pt x="247" y="70"/>
                        </a:moveTo>
                        <a:lnTo>
                          <a:pt x="35" y="70"/>
                        </a:lnTo>
                        <a:cubicBezTo>
                          <a:pt x="16" y="70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6" y="0"/>
                          <a:pt x="282" y="16"/>
                          <a:pt x="282" y="35"/>
                        </a:cubicBezTo>
                        <a:cubicBezTo>
                          <a:pt x="282" y="55"/>
                          <a:pt x="266" y="70"/>
                          <a:pt x="247" y="7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5" name="Freeform 15">
                    <a:extLst>
                      <a:ext uri="{FF2B5EF4-FFF2-40B4-BE49-F238E27FC236}">
                        <a16:creationId xmlns:a16="http://schemas.microsoft.com/office/drawing/2014/main" id="{304D9D08-79D0-83C8-EC39-A2AA996D28D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1010" y="1802801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0 h 70"/>
                      <a:gd name="T2" fmla="*/ 35 w 282"/>
                      <a:gd name="T3" fmla="*/ 70 h 70"/>
                      <a:gd name="T4" fmla="*/ 0 w 282"/>
                      <a:gd name="T5" fmla="*/ 35 h 70"/>
                      <a:gd name="T6" fmla="*/ 35 w 282"/>
                      <a:gd name="T7" fmla="*/ 0 h 70"/>
                      <a:gd name="T8" fmla="*/ 247 w 282"/>
                      <a:gd name="T9" fmla="*/ 0 h 70"/>
                      <a:gd name="T10" fmla="*/ 282 w 282"/>
                      <a:gd name="T11" fmla="*/ 35 h 70"/>
                      <a:gd name="T12" fmla="*/ 247 w 282"/>
                      <a:gd name="T13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0">
                        <a:moveTo>
                          <a:pt x="247" y="70"/>
                        </a:moveTo>
                        <a:lnTo>
                          <a:pt x="35" y="70"/>
                        </a:lnTo>
                        <a:cubicBezTo>
                          <a:pt x="16" y="70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7" y="0"/>
                          <a:pt x="282" y="16"/>
                          <a:pt x="282" y="35"/>
                        </a:cubicBezTo>
                        <a:cubicBezTo>
                          <a:pt x="282" y="55"/>
                          <a:pt x="267" y="70"/>
                          <a:pt x="247" y="7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6" name="Freeform 16">
                    <a:extLst>
                      <a:ext uri="{FF2B5EF4-FFF2-40B4-BE49-F238E27FC236}">
                        <a16:creationId xmlns:a16="http://schemas.microsoft.com/office/drawing/2014/main" id="{7FCF4006-50C0-4C0A-6188-2F3F92B3D5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458" y="1850962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1 h 71"/>
                      <a:gd name="T2" fmla="*/ 35 w 282"/>
                      <a:gd name="T3" fmla="*/ 71 h 71"/>
                      <a:gd name="T4" fmla="*/ 0 w 282"/>
                      <a:gd name="T5" fmla="*/ 35 h 71"/>
                      <a:gd name="T6" fmla="*/ 35 w 282"/>
                      <a:gd name="T7" fmla="*/ 0 h 71"/>
                      <a:gd name="T8" fmla="*/ 247 w 282"/>
                      <a:gd name="T9" fmla="*/ 0 h 71"/>
                      <a:gd name="T10" fmla="*/ 282 w 282"/>
                      <a:gd name="T11" fmla="*/ 35 h 71"/>
                      <a:gd name="T12" fmla="*/ 247 w 282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1">
                        <a:moveTo>
                          <a:pt x="247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6" y="0"/>
                          <a:pt x="282" y="16"/>
                          <a:pt x="282" y="35"/>
                        </a:cubicBezTo>
                        <a:cubicBezTo>
                          <a:pt x="282" y="55"/>
                          <a:pt x="266" y="71"/>
                          <a:pt x="247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7" name="Freeform 17">
                    <a:extLst>
                      <a:ext uri="{FF2B5EF4-FFF2-40B4-BE49-F238E27FC236}">
                        <a16:creationId xmlns:a16="http://schemas.microsoft.com/office/drawing/2014/main" id="{C982B579-8B36-B5DB-EC68-505EB6C868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1010" y="1850962"/>
                    <a:ext cx="44805" cy="12040"/>
                  </a:xfrm>
                  <a:custGeom>
                    <a:avLst/>
                    <a:gdLst>
                      <a:gd name="T0" fmla="*/ 247 w 282"/>
                      <a:gd name="T1" fmla="*/ 71 h 71"/>
                      <a:gd name="T2" fmla="*/ 35 w 282"/>
                      <a:gd name="T3" fmla="*/ 71 h 71"/>
                      <a:gd name="T4" fmla="*/ 0 w 282"/>
                      <a:gd name="T5" fmla="*/ 35 h 71"/>
                      <a:gd name="T6" fmla="*/ 35 w 282"/>
                      <a:gd name="T7" fmla="*/ 0 h 71"/>
                      <a:gd name="T8" fmla="*/ 247 w 282"/>
                      <a:gd name="T9" fmla="*/ 0 h 71"/>
                      <a:gd name="T10" fmla="*/ 282 w 282"/>
                      <a:gd name="T11" fmla="*/ 35 h 71"/>
                      <a:gd name="T12" fmla="*/ 247 w 282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2" h="71">
                        <a:moveTo>
                          <a:pt x="247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247" y="0"/>
                        </a:lnTo>
                        <a:cubicBezTo>
                          <a:pt x="267" y="0"/>
                          <a:pt x="282" y="16"/>
                          <a:pt x="282" y="35"/>
                        </a:cubicBezTo>
                        <a:cubicBezTo>
                          <a:pt x="282" y="55"/>
                          <a:pt x="267" y="71"/>
                          <a:pt x="247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8" name="Freeform 18">
                    <a:extLst>
                      <a:ext uri="{FF2B5EF4-FFF2-40B4-BE49-F238E27FC236}">
                        <a16:creationId xmlns:a16="http://schemas.microsoft.com/office/drawing/2014/main" id="{95E019DA-1011-9A35-999F-C9B0557B26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3048" y="1790010"/>
                    <a:ext cx="95126" cy="267137"/>
                  </a:xfrm>
                  <a:custGeom>
                    <a:avLst/>
                    <a:gdLst>
                      <a:gd name="T0" fmla="*/ 565 w 600"/>
                      <a:gd name="T1" fmla="*/ 1552 h 1552"/>
                      <a:gd name="T2" fmla="*/ 529 w 600"/>
                      <a:gd name="T3" fmla="*/ 1517 h 1552"/>
                      <a:gd name="T4" fmla="*/ 529 w 600"/>
                      <a:gd name="T5" fmla="*/ 71 h 1552"/>
                      <a:gd name="T6" fmla="*/ 36 w 600"/>
                      <a:gd name="T7" fmla="*/ 71 h 1552"/>
                      <a:gd name="T8" fmla="*/ 0 w 600"/>
                      <a:gd name="T9" fmla="*/ 36 h 1552"/>
                      <a:gd name="T10" fmla="*/ 36 w 600"/>
                      <a:gd name="T11" fmla="*/ 0 h 1552"/>
                      <a:gd name="T12" fmla="*/ 565 w 600"/>
                      <a:gd name="T13" fmla="*/ 0 h 1552"/>
                      <a:gd name="T14" fmla="*/ 600 w 600"/>
                      <a:gd name="T15" fmla="*/ 36 h 1552"/>
                      <a:gd name="T16" fmla="*/ 600 w 600"/>
                      <a:gd name="T17" fmla="*/ 1517 h 1552"/>
                      <a:gd name="T18" fmla="*/ 565 w 600"/>
                      <a:gd name="T19" fmla="*/ 1552 h 15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00" h="1552">
                        <a:moveTo>
                          <a:pt x="565" y="1552"/>
                        </a:moveTo>
                        <a:cubicBezTo>
                          <a:pt x="545" y="1552"/>
                          <a:pt x="529" y="1537"/>
                          <a:pt x="529" y="1517"/>
                        </a:cubicBezTo>
                        <a:lnTo>
                          <a:pt x="529" y="71"/>
                        </a:lnTo>
                        <a:lnTo>
                          <a:pt x="36" y="71"/>
                        </a:lnTo>
                        <a:cubicBezTo>
                          <a:pt x="16" y="71"/>
                          <a:pt x="0" y="55"/>
                          <a:pt x="0" y="36"/>
                        </a:cubicBezTo>
                        <a:cubicBezTo>
                          <a:pt x="0" y="16"/>
                          <a:pt x="16" y="0"/>
                          <a:pt x="36" y="0"/>
                        </a:cubicBezTo>
                        <a:lnTo>
                          <a:pt x="565" y="0"/>
                        </a:lnTo>
                        <a:cubicBezTo>
                          <a:pt x="584" y="0"/>
                          <a:pt x="600" y="16"/>
                          <a:pt x="600" y="36"/>
                        </a:cubicBezTo>
                        <a:lnTo>
                          <a:pt x="600" y="1517"/>
                        </a:lnTo>
                        <a:cubicBezTo>
                          <a:pt x="600" y="1537"/>
                          <a:pt x="584" y="1552"/>
                          <a:pt x="565" y="1552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9" name="Freeform 19">
                    <a:extLst>
                      <a:ext uri="{FF2B5EF4-FFF2-40B4-BE49-F238E27FC236}">
                        <a16:creationId xmlns:a16="http://schemas.microsoft.com/office/drawing/2014/main" id="{1F9C64DC-B974-27F3-D903-70DD48E70B0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825" y="1850962"/>
                    <a:ext cx="27573" cy="12040"/>
                  </a:xfrm>
                  <a:custGeom>
                    <a:avLst/>
                    <a:gdLst>
                      <a:gd name="T0" fmla="*/ 141 w 176"/>
                      <a:gd name="T1" fmla="*/ 71 h 71"/>
                      <a:gd name="T2" fmla="*/ 35 w 176"/>
                      <a:gd name="T3" fmla="*/ 71 h 71"/>
                      <a:gd name="T4" fmla="*/ 0 w 176"/>
                      <a:gd name="T5" fmla="*/ 35 h 71"/>
                      <a:gd name="T6" fmla="*/ 35 w 176"/>
                      <a:gd name="T7" fmla="*/ 0 h 71"/>
                      <a:gd name="T8" fmla="*/ 141 w 176"/>
                      <a:gd name="T9" fmla="*/ 0 h 71"/>
                      <a:gd name="T10" fmla="*/ 176 w 176"/>
                      <a:gd name="T11" fmla="*/ 35 h 71"/>
                      <a:gd name="T12" fmla="*/ 141 w 176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71">
                        <a:moveTo>
                          <a:pt x="141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141" y="0"/>
                        </a:lnTo>
                        <a:cubicBezTo>
                          <a:pt x="161" y="0"/>
                          <a:pt x="176" y="16"/>
                          <a:pt x="176" y="35"/>
                        </a:cubicBezTo>
                        <a:cubicBezTo>
                          <a:pt x="176" y="55"/>
                          <a:pt x="161" y="71"/>
                          <a:pt x="141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0" name="Freeform 20">
                    <a:extLst>
                      <a:ext uri="{FF2B5EF4-FFF2-40B4-BE49-F238E27FC236}">
                        <a16:creationId xmlns:a16="http://schemas.microsoft.com/office/drawing/2014/main" id="{1FA68D4E-EF9A-78D2-4243-397FD80319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825" y="1899120"/>
                    <a:ext cx="27573" cy="12793"/>
                  </a:xfrm>
                  <a:custGeom>
                    <a:avLst/>
                    <a:gdLst>
                      <a:gd name="T0" fmla="*/ 141 w 176"/>
                      <a:gd name="T1" fmla="*/ 71 h 71"/>
                      <a:gd name="T2" fmla="*/ 35 w 176"/>
                      <a:gd name="T3" fmla="*/ 71 h 71"/>
                      <a:gd name="T4" fmla="*/ 0 w 176"/>
                      <a:gd name="T5" fmla="*/ 36 h 71"/>
                      <a:gd name="T6" fmla="*/ 35 w 176"/>
                      <a:gd name="T7" fmla="*/ 0 h 71"/>
                      <a:gd name="T8" fmla="*/ 141 w 176"/>
                      <a:gd name="T9" fmla="*/ 0 h 71"/>
                      <a:gd name="T10" fmla="*/ 176 w 176"/>
                      <a:gd name="T11" fmla="*/ 36 h 71"/>
                      <a:gd name="T12" fmla="*/ 141 w 176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71">
                        <a:moveTo>
                          <a:pt x="141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6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141" y="0"/>
                        </a:lnTo>
                        <a:cubicBezTo>
                          <a:pt x="161" y="0"/>
                          <a:pt x="176" y="16"/>
                          <a:pt x="176" y="36"/>
                        </a:cubicBezTo>
                        <a:cubicBezTo>
                          <a:pt x="176" y="55"/>
                          <a:pt x="161" y="71"/>
                          <a:pt x="141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1" name="Freeform 21">
                    <a:extLst>
                      <a:ext uri="{FF2B5EF4-FFF2-40B4-BE49-F238E27FC236}">
                        <a16:creationId xmlns:a16="http://schemas.microsoft.com/office/drawing/2014/main" id="{ADAC87EB-E5C5-2B78-3BC2-A0ED9DE6C7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825" y="1948034"/>
                    <a:ext cx="27573" cy="12040"/>
                  </a:xfrm>
                  <a:custGeom>
                    <a:avLst/>
                    <a:gdLst>
                      <a:gd name="T0" fmla="*/ 141 w 176"/>
                      <a:gd name="T1" fmla="*/ 71 h 71"/>
                      <a:gd name="T2" fmla="*/ 35 w 176"/>
                      <a:gd name="T3" fmla="*/ 71 h 71"/>
                      <a:gd name="T4" fmla="*/ 0 w 176"/>
                      <a:gd name="T5" fmla="*/ 36 h 71"/>
                      <a:gd name="T6" fmla="*/ 35 w 176"/>
                      <a:gd name="T7" fmla="*/ 0 h 71"/>
                      <a:gd name="T8" fmla="*/ 141 w 176"/>
                      <a:gd name="T9" fmla="*/ 0 h 71"/>
                      <a:gd name="T10" fmla="*/ 176 w 176"/>
                      <a:gd name="T11" fmla="*/ 36 h 71"/>
                      <a:gd name="T12" fmla="*/ 141 w 176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71">
                        <a:moveTo>
                          <a:pt x="141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6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141" y="0"/>
                        </a:lnTo>
                        <a:cubicBezTo>
                          <a:pt x="161" y="0"/>
                          <a:pt x="176" y="16"/>
                          <a:pt x="176" y="36"/>
                        </a:cubicBezTo>
                        <a:cubicBezTo>
                          <a:pt x="176" y="55"/>
                          <a:pt x="161" y="71"/>
                          <a:pt x="141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2" name="Freeform 22">
                    <a:extLst>
                      <a:ext uri="{FF2B5EF4-FFF2-40B4-BE49-F238E27FC236}">
                        <a16:creationId xmlns:a16="http://schemas.microsoft.com/office/drawing/2014/main" id="{9C56788C-E3D2-5531-7849-76024B3DEC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1101" y="1790010"/>
                    <a:ext cx="95814" cy="176085"/>
                  </a:xfrm>
                  <a:custGeom>
                    <a:avLst/>
                    <a:gdLst>
                      <a:gd name="T0" fmla="*/ 36 w 600"/>
                      <a:gd name="T1" fmla="*/ 1023 h 1023"/>
                      <a:gd name="T2" fmla="*/ 0 w 600"/>
                      <a:gd name="T3" fmla="*/ 988 h 1023"/>
                      <a:gd name="T4" fmla="*/ 0 w 600"/>
                      <a:gd name="T5" fmla="*/ 36 h 1023"/>
                      <a:gd name="T6" fmla="*/ 36 w 600"/>
                      <a:gd name="T7" fmla="*/ 0 h 1023"/>
                      <a:gd name="T8" fmla="*/ 565 w 600"/>
                      <a:gd name="T9" fmla="*/ 0 h 1023"/>
                      <a:gd name="T10" fmla="*/ 600 w 600"/>
                      <a:gd name="T11" fmla="*/ 36 h 1023"/>
                      <a:gd name="T12" fmla="*/ 565 w 600"/>
                      <a:gd name="T13" fmla="*/ 71 h 1023"/>
                      <a:gd name="T14" fmla="*/ 71 w 600"/>
                      <a:gd name="T15" fmla="*/ 71 h 1023"/>
                      <a:gd name="T16" fmla="*/ 71 w 600"/>
                      <a:gd name="T17" fmla="*/ 988 h 1023"/>
                      <a:gd name="T18" fmla="*/ 36 w 600"/>
                      <a:gd name="T19" fmla="*/ 1023 h 10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00" h="1023">
                        <a:moveTo>
                          <a:pt x="36" y="1023"/>
                        </a:moveTo>
                        <a:cubicBezTo>
                          <a:pt x="16" y="1023"/>
                          <a:pt x="0" y="1007"/>
                          <a:pt x="0" y="988"/>
                        </a:cubicBezTo>
                        <a:lnTo>
                          <a:pt x="0" y="36"/>
                        </a:lnTo>
                        <a:cubicBezTo>
                          <a:pt x="0" y="16"/>
                          <a:pt x="16" y="0"/>
                          <a:pt x="36" y="0"/>
                        </a:cubicBezTo>
                        <a:lnTo>
                          <a:pt x="565" y="0"/>
                        </a:lnTo>
                        <a:cubicBezTo>
                          <a:pt x="584" y="0"/>
                          <a:pt x="600" y="16"/>
                          <a:pt x="600" y="36"/>
                        </a:cubicBezTo>
                        <a:cubicBezTo>
                          <a:pt x="600" y="55"/>
                          <a:pt x="584" y="71"/>
                          <a:pt x="565" y="71"/>
                        </a:cubicBezTo>
                        <a:lnTo>
                          <a:pt x="71" y="71"/>
                        </a:lnTo>
                        <a:lnTo>
                          <a:pt x="71" y="988"/>
                        </a:lnTo>
                        <a:cubicBezTo>
                          <a:pt x="71" y="1007"/>
                          <a:pt x="55" y="1023"/>
                          <a:pt x="36" y="102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3" name="Freeform 23">
                    <a:extLst>
                      <a:ext uri="{FF2B5EF4-FFF2-40B4-BE49-F238E27FC236}">
                        <a16:creationId xmlns:a16="http://schemas.microsoft.com/office/drawing/2014/main" id="{EC6E9238-00E6-0D10-597D-7F909633DC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4877" y="1850962"/>
                    <a:ext cx="28262" cy="12040"/>
                  </a:xfrm>
                  <a:custGeom>
                    <a:avLst/>
                    <a:gdLst>
                      <a:gd name="T0" fmla="*/ 141 w 176"/>
                      <a:gd name="T1" fmla="*/ 71 h 71"/>
                      <a:gd name="T2" fmla="*/ 35 w 176"/>
                      <a:gd name="T3" fmla="*/ 71 h 71"/>
                      <a:gd name="T4" fmla="*/ 0 w 176"/>
                      <a:gd name="T5" fmla="*/ 35 h 71"/>
                      <a:gd name="T6" fmla="*/ 35 w 176"/>
                      <a:gd name="T7" fmla="*/ 0 h 71"/>
                      <a:gd name="T8" fmla="*/ 141 w 176"/>
                      <a:gd name="T9" fmla="*/ 0 h 71"/>
                      <a:gd name="T10" fmla="*/ 176 w 176"/>
                      <a:gd name="T11" fmla="*/ 35 h 71"/>
                      <a:gd name="T12" fmla="*/ 141 w 176"/>
                      <a:gd name="T13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71">
                        <a:moveTo>
                          <a:pt x="141" y="71"/>
                        </a:moveTo>
                        <a:lnTo>
                          <a:pt x="35" y="71"/>
                        </a:lnTo>
                        <a:cubicBezTo>
                          <a:pt x="16" y="71"/>
                          <a:pt x="0" y="55"/>
                          <a:pt x="0" y="35"/>
                        </a:cubicBezTo>
                        <a:cubicBezTo>
                          <a:pt x="0" y="16"/>
                          <a:pt x="16" y="0"/>
                          <a:pt x="35" y="0"/>
                        </a:cubicBezTo>
                        <a:lnTo>
                          <a:pt x="141" y="0"/>
                        </a:lnTo>
                        <a:cubicBezTo>
                          <a:pt x="161" y="0"/>
                          <a:pt x="176" y="16"/>
                          <a:pt x="176" y="35"/>
                        </a:cubicBezTo>
                        <a:cubicBezTo>
                          <a:pt x="176" y="55"/>
                          <a:pt x="161" y="71"/>
                          <a:pt x="141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sp>
              <p:nvSpPr>
                <p:cNvPr id="70" name="Content Placeholder 2">
                  <a:extLst>
                    <a:ext uri="{FF2B5EF4-FFF2-40B4-BE49-F238E27FC236}">
                      <a16:creationId xmlns:a16="http://schemas.microsoft.com/office/drawing/2014/main" id="{41368836-CC90-0FD4-5510-9B7298E9D61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070971" y="1431965"/>
                  <a:ext cx="2237836" cy="472871"/>
                </a:xfrm>
                <a:prstGeom prst="rect">
                  <a:avLst/>
                </a:prstGeom>
              </p:spPr>
              <p:txBody>
                <a:bodyPr vert="horz" lIns="0" tIns="0" rIns="0" bIns="0" rtlCol="0" anchor="t">
                  <a:noAutofit/>
                </a:bodyPr>
                <a:lstStyle>
                  <a:lvl1pPr marL="0" indent="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0" indent="0" algn="l" defTabSz="914400" rtl="0" eaLnBrk="1" latinLnBrk="0" hangingPunct="1">
                    <a:lnSpc>
                      <a:spcPct val="100000"/>
                    </a:lnSpc>
                    <a:spcBef>
                      <a:spcPts val="992"/>
                    </a:spcBef>
                    <a:spcAft>
                      <a:spcPts val="992"/>
                    </a:spcAft>
                    <a:buFont typeface="Arial" panose="020B0604020202020204" pitchFamily="34" charset="0"/>
                    <a:buNone/>
                    <a:defRPr sz="2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66700" indent="-26670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539750" indent="-27305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806450" indent="-26670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dirty="0">
                      <a:solidFill>
                        <a:schemeClr val="accent1"/>
                      </a:solidFill>
                    </a:rPr>
                    <a:t>Corporate Sustainability and Climate Change</a:t>
                  </a:r>
                  <a:endParaRPr lang="en-GB" sz="1400" dirty="0">
                    <a:solidFill>
                      <a:schemeClr val="accent1"/>
                    </a:solidFill>
                  </a:endParaRPr>
                </a:p>
              </p:txBody>
            </p:sp>
          </p:grpSp>
          <p:grpSp>
            <p:nvGrpSpPr>
              <p:cNvPr id="55" name="Group 22">
                <a:extLst>
                  <a:ext uri="{FF2B5EF4-FFF2-40B4-BE49-F238E27FC236}">
                    <a16:creationId xmlns:a16="http://schemas.microsoft.com/office/drawing/2014/main" id="{36510CF9-6375-C9DD-79FD-A90AC3F9F40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33050" y="5517776"/>
                <a:ext cx="218752" cy="302616"/>
                <a:chOff x="1266" y="1313"/>
                <a:chExt cx="264" cy="368"/>
              </a:xfrm>
            </p:grpSpPr>
            <p:sp>
              <p:nvSpPr>
                <p:cNvPr id="56" name="Freeform 23">
                  <a:extLst>
                    <a:ext uri="{FF2B5EF4-FFF2-40B4-BE49-F238E27FC236}">
                      <a16:creationId xmlns:a16="http://schemas.microsoft.com/office/drawing/2014/main" id="{6EB4C0BC-C1B3-48A6-94A0-EFBEEF4BF7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6" y="1331"/>
                  <a:ext cx="159" cy="312"/>
                </a:xfrm>
                <a:custGeom>
                  <a:avLst/>
                  <a:gdLst>
                    <a:gd name="T0" fmla="*/ 683 w 683"/>
                    <a:gd name="T1" fmla="*/ 1341 h 1341"/>
                    <a:gd name="T2" fmla="*/ 0 w 683"/>
                    <a:gd name="T3" fmla="*/ 1341 h 1341"/>
                    <a:gd name="T4" fmla="*/ 0 w 683"/>
                    <a:gd name="T5" fmla="*/ 0 h 1341"/>
                    <a:gd name="T6" fmla="*/ 325 w 683"/>
                    <a:gd name="T7" fmla="*/ 0 h 1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3" h="1341">
                      <a:moveTo>
                        <a:pt x="683" y="1341"/>
                      </a:moveTo>
                      <a:lnTo>
                        <a:pt x="0" y="1341"/>
                      </a:lnTo>
                      <a:lnTo>
                        <a:pt x="0" y="0"/>
                      </a:lnTo>
                      <a:lnTo>
                        <a:pt x="325" y="0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7" name="Freeform 24">
                  <a:extLst>
                    <a:ext uri="{FF2B5EF4-FFF2-40B4-BE49-F238E27FC236}">
                      <a16:creationId xmlns:a16="http://schemas.microsoft.com/office/drawing/2014/main" id="{3247E5B3-E58A-F778-E523-D8F82DCF7D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7" y="1331"/>
                  <a:ext cx="75" cy="244"/>
                </a:xfrm>
                <a:custGeom>
                  <a:avLst/>
                  <a:gdLst>
                    <a:gd name="T0" fmla="*/ 0 w 326"/>
                    <a:gd name="T1" fmla="*/ 0 h 1048"/>
                    <a:gd name="T2" fmla="*/ 326 w 326"/>
                    <a:gd name="T3" fmla="*/ 0 h 1048"/>
                    <a:gd name="T4" fmla="*/ 326 w 326"/>
                    <a:gd name="T5" fmla="*/ 1048 h 10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26" h="1048">
                      <a:moveTo>
                        <a:pt x="0" y="0"/>
                      </a:moveTo>
                      <a:lnTo>
                        <a:pt x="326" y="0"/>
                      </a:lnTo>
                      <a:lnTo>
                        <a:pt x="326" y="1048"/>
                      </a:ln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8" name="Line 25">
                  <a:extLst>
                    <a:ext uri="{FF2B5EF4-FFF2-40B4-BE49-F238E27FC236}">
                      <a16:creationId xmlns:a16="http://schemas.microsoft.com/office/drawing/2014/main" id="{EC5883A6-B0C0-48D5-3847-E2E174BA90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317" y="1423"/>
                  <a:ext cx="124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59" name="Line 26">
                  <a:extLst>
                    <a:ext uri="{FF2B5EF4-FFF2-40B4-BE49-F238E27FC236}">
                      <a16:creationId xmlns:a16="http://schemas.microsoft.com/office/drawing/2014/main" id="{DF2CB47C-91AF-7B30-BA43-742950EF21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317" y="1466"/>
                  <a:ext cx="124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0" name="Line 27">
                  <a:extLst>
                    <a:ext uri="{FF2B5EF4-FFF2-40B4-BE49-F238E27FC236}">
                      <a16:creationId xmlns:a16="http://schemas.microsoft.com/office/drawing/2014/main" id="{2ACF923A-9940-489B-C08C-CE61639F69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317" y="1509"/>
                  <a:ext cx="124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1" name="Line 28">
                  <a:extLst>
                    <a:ext uri="{FF2B5EF4-FFF2-40B4-BE49-F238E27FC236}">
                      <a16:creationId xmlns:a16="http://schemas.microsoft.com/office/drawing/2014/main" id="{D0F9E012-4C77-3A0B-8B46-9476845621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317" y="1552"/>
                  <a:ext cx="124" cy="0"/>
                </a:xfrm>
                <a:prstGeom prst="lin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2" name="Freeform 29">
                  <a:extLst>
                    <a:ext uri="{FF2B5EF4-FFF2-40B4-BE49-F238E27FC236}">
                      <a16:creationId xmlns:a16="http://schemas.microsoft.com/office/drawing/2014/main" id="{C4C4BE38-2CBB-4218-7032-D30171426B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2" y="1313"/>
                  <a:ext cx="75" cy="51"/>
                </a:xfrm>
                <a:custGeom>
                  <a:avLst/>
                  <a:gdLst>
                    <a:gd name="T0" fmla="*/ 0 w 324"/>
                    <a:gd name="T1" fmla="*/ 22 h 217"/>
                    <a:gd name="T2" fmla="*/ 0 w 324"/>
                    <a:gd name="T3" fmla="*/ 188 h 217"/>
                    <a:gd name="T4" fmla="*/ 29 w 324"/>
                    <a:gd name="T5" fmla="*/ 217 h 217"/>
                    <a:gd name="T6" fmla="*/ 40 w 324"/>
                    <a:gd name="T7" fmla="*/ 217 h 217"/>
                    <a:gd name="T8" fmla="*/ 69 w 324"/>
                    <a:gd name="T9" fmla="*/ 192 h 217"/>
                    <a:gd name="T10" fmla="*/ 69 w 324"/>
                    <a:gd name="T11" fmla="*/ 189 h 217"/>
                    <a:gd name="T12" fmla="*/ 168 w 324"/>
                    <a:gd name="T13" fmla="*/ 102 h 217"/>
                    <a:gd name="T14" fmla="*/ 168 w 324"/>
                    <a:gd name="T15" fmla="*/ 102 h 217"/>
                    <a:gd name="T16" fmla="*/ 267 w 324"/>
                    <a:gd name="T17" fmla="*/ 189 h 217"/>
                    <a:gd name="T18" fmla="*/ 268 w 324"/>
                    <a:gd name="T19" fmla="*/ 192 h 217"/>
                    <a:gd name="T20" fmla="*/ 296 w 324"/>
                    <a:gd name="T21" fmla="*/ 217 h 217"/>
                    <a:gd name="T22" fmla="*/ 296 w 324"/>
                    <a:gd name="T23" fmla="*/ 217 h 217"/>
                    <a:gd name="T24" fmla="*/ 324 w 324"/>
                    <a:gd name="T25" fmla="*/ 188 h 217"/>
                    <a:gd name="T26" fmla="*/ 324 w 324"/>
                    <a:gd name="T27" fmla="*/ 22 h 217"/>
                    <a:gd name="T28" fmla="*/ 302 w 324"/>
                    <a:gd name="T29" fmla="*/ 0 h 217"/>
                    <a:gd name="T30" fmla="*/ 22 w 324"/>
                    <a:gd name="T31" fmla="*/ 0 h 217"/>
                    <a:gd name="T32" fmla="*/ 0 w 324"/>
                    <a:gd name="T33" fmla="*/ 22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4" h="217">
                      <a:moveTo>
                        <a:pt x="0" y="22"/>
                      </a:moveTo>
                      <a:lnTo>
                        <a:pt x="0" y="188"/>
                      </a:lnTo>
                      <a:cubicBezTo>
                        <a:pt x="0" y="204"/>
                        <a:pt x="13" y="217"/>
                        <a:pt x="29" y="217"/>
                      </a:cubicBezTo>
                      <a:lnTo>
                        <a:pt x="40" y="217"/>
                      </a:lnTo>
                      <a:cubicBezTo>
                        <a:pt x="55" y="217"/>
                        <a:pt x="67" y="206"/>
                        <a:pt x="69" y="192"/>
                      </a:cubicBezTo>
                      <a:lnTo>
                        <a:pt x="69" y="189"/>
                      </a:lnTo>
                      <a:cubicBezTo>
                        <a:pt x="76" y="139"/>
                        <a:pt x="118" y="102"/>
                        <a:pt x="168" y="102"/>
                      </a:cubicBezTo>
                      <a:lnTo>
                        <a:pt x="168" y="102"/>
                      </a:lnTo>
                      <a:cubicBezTo>
                        <a:pt x="218" y="102"/>
                        <a:pt x="261" y="139"/>
                        <a:pt x="267" y="189"/>
                      </a:cubicBezTo>
                      <a:lnTo>
                        <a:pt x="268" y="192"/>
                      </a:lnTo>
                      <a:cubicBezTo>
                        <a:pt x="269" y="206"/>
                        <a:pt x="282" y="217"/>
                        <a:pt x="296" y="217"/>
                      </a:cubicBezTo>
                      <a:lnTo>
                        <a:pt x="296" y="217"/>
                      </a:lnTo>
                      <a:cubicBezTo>
                        <a:pt x="312" y="217"/>
                        <a:pt x="324" y="204"/>
                        <a:pt x="324" y="188"/>
                      </a:cubicBezTo>
                      <a:lnTo>
                        <a:pt x="324" y="22"/>
                      </a:lnTo>
                      <a:cubicBezTo>
                        <a:pt x="324" y="10"/>
                        <a:pt x="315" y="0"/>
                        <a:pt x="302" y="0"/>
                      </a:cubicBezTo>
                      <a:lnTo>
                        <a:pt x="22" y="0"/>
                      </a:lnTo>
                      <a:cubicBezTo>
                        <a:pt x="10" y="0"/>
                        <a:pt x="0" y="10"/>
                        <a:pt x="0" y="22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3" name="Oval 30">
                  <a:extLst>
                    <a:ext uri="{FF2B5EF4-FFF2-40B4-BE49-F238E27FC236}">
                      <a16:creationId xmlns:a16="http://schemas.microsoft.com/office/drawing/2014/main" id="{0400D5EF-0B23-CEBD-4768-3D1CCEBDE7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2" y="1573"/>
                  <a:ext cx="108" cy="108"/>
                </a:xfrm>
                <a:prstGeom prst="ellipse">
                  <a:avLst/>
                </a:pr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64" name="Freeform 31">
                  <a:extLst>
                    <a:ext uri="{FF2B5EF4-FFF2-40B4-BE49-F238E27FC236}">
                      <a16:creationId xmlns:a16="http://schemas.microsoft.com/office/drawing/2014/main" id="{3A4C3D52-4B7C-CF09-AEE2-9A1E06337D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3" y="1608"/>
                  <a:ext cx="53" cy="38"/>
                </a:xfrm>
                <a:custGeom>
                  <a:avLst/>
                  <a:gdLst>
                    <a:gd name="T0" fmla="*/ 0 w 229"/>
                    <a:gd name="T1" fmla="*/ 82 h 166"/>
                    <a:gd name="T2" fmla="*/ 94 w 229"/>
                    <a:gd name="T3" fmla="*/ 166 h 166"/>
                    <a:gd name="T4" fmla="*/ 229 w 229"/>
                    <a:gd name="T5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29" h="166">
                      <a:moveTo>
                        <a:pt x="0" y="82"/>
                      </a:moveTo>
                      <a:lnTo>
                        <a:pt x="94" y="166"/>
                      </a:lnTo>
                      <a:lnTo>
                        <a:pt x="229" y="0"/>
                      </a:lnTo>
                    </a:path>
                  </a:pathLst>
                </a:custGeom>
                <a:noFill/>
                <a:ln w="12700" cap="rnd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chemeClr val="accent1"/>
                    </a:solidFill>
                  </a:endParaRPr>
                </a:p>
              </p:txBody>
            </p:sp>
          </p:grpSp>
          <p:sp>
            <p:nvSpPr>
              <p:cNvPr id="73" name="Content Placeholder 2">
                <a:extLst>
                  <a:ext uri="{FF2B5EF4-FFF2-40B4-BE49-F238E27FC236}">
                    <a16:creationId xmlns:a16="http://schemas.microsoft.com/office/drawing/2014/main" id="{D18A7203-1C6B-49FF-C403-2E44744C39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9442" y="5536985"/>
                <a:ext cx="2761216" cy="1278376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Font typeface="Arial" panose="020B0604020202020204" pitchFamily="34" charset="0"/>
                  <a:buNone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00000"/>
                  </a:lnSpc>
                  <a:spcBef>
                    <a:spcPts val="992"/>
                  </a:spcBef>
                  <a:spcAft>
                    <a:spcPts val="992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66700" indent="-2667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39750" indent="-27305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06450" indent="-2667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49"/>
                  </a:spcAft>
                  <a:buClr>
                    <a:schemeClr val="tx2"/>
                  </a:buClr>
                  <a:buSzPct val="85000"/>
                  <a:buFont typeface="Wingdings" panose="05000000000000000000" pitchFamily="2" charset="2"/>
                  <a:buChar char="n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>
                    <a:solidFill>
                      <a:schemeClr val="accent1"/>
                    </a:solidFill>
                  </a:rPr>
                  <a:t>EHS Management and Compliance</a:t>
                </a:r>
                <a:endParaRPr lang="en-GB" sz="1400" dirty="0">
                  <a:solidFill>
                    <a:schemeClr val="accent1"/>
                  </a:solidFill>
                  <a:cs typeface="Arial"/>
                </a:endParaRPr>
              </a:p>
            </p:txBody>
          </p: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5B8E3049-6B8A-4019-F6CC-576C4860488D}"/>
                  </a:ext>
                </a:extLst>
              </p:cNvPr>
              <p:cNvGrpSpPr/>
              <p:nvPr/>
            </p:nvGrpSpPr>
            <p:grpSpPr>
              <a:xfrm>
                <a:off x="609600" y="6003001"/>
                <a:ext cx="3671510" cy="1083599"/>
                <a:chOff x="8698490" y="1563076"/>
                <a:chExt cx="3671510" cy="1083599"/>
              </a:xfrm>
            </p:grpSpPr>
            <p:sp>
              <p:nvSpPr>
                <p:cNvPr id="54" name="Freeform 5">
                  <a:extLst>
                    <a:ext uri="{FF2B5EF4-FFF2-40B4-BE49-F238E27FC236}">
                      <a16:creationId xmlns:a16="http://schemas.microsoft.com/office/drawing/2014/main" id="{A2DE6E55-E7DD-FFCB-5795-8129BF4D74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698490" y="1563076"/>
                  <a:ext cx="265493" cy="305206"/>
                </a:xfrm>
                <a:custGeom>
                  <a:avLst/>
                  <a:gdLst>
                    <a:gd name="T0" fmla="*/ 1288 w 1915"/>
                    <a:gd name="T1" fmla="*/ 2118 h 2225"/>
                    <a:gd name="T2" fmla="*/ 1288 w 1915"/>
                    <a:gd name="T3" fmla="*/ 2025 h 2225"/>
                    <a:gd name="T4" fmla="*/ 1414 w 1915"/>
                    <a:gd name="T5" fmla="*/ 2025 h 2225"/>
                    <a:gd name="T6" fmla="*/ 1552 w 1915"/>
                    <a:gd name="T7" fmla="*/ 2225 h 2225"/>
                    <a:gd name="T8" fmla="*/ 1552 w 1915"/>
                    <a:gd name="T9" fmla="*/ 1873 h 2225"/>
                    <a:gd name="T10" fmla="*/ 360 w 1915"/>
                    <a:gd name="T11" fmla="*/ 1873 h 2225"/>
                    <a:gd name="T12" fmla="*/ 360 w 1915"/>
                    <a:gd name="T13" fmla="*/ 2225 h 2225"/>
                    <a:gd name="T14" fmla="*/ 529 w 1915"/>
                    <a:gd name="T15" fmla="*/ 2118 h 2225"/>
                    <a:gd name="T16" fmla="*/ 529 w 1915"/>
                    <a:gd name="T17" fmla="*/ 2025 h 2225"/>
                    <a:gd name="T18" fmla="*/ 654 w 1915"/>
                    <a:gd name="T19" fmla="*/ 2025 h 2225"/>
                    <a:gd name="T20" fmla="*/ 1495 w 1915"/>
                    <a:gd name="T21" fmla="*/ 1809 h 2225"/>
                    <a:gd name="T22" fmla="*/ 1495 w 1915"/>
                    <a:gd name="T23" fmla="*/ 1414 h 2225"/>
                    <a:gd name="T24" fmla="*/ 1311 w 1915"/>
                    <a:gd name="T25" fmla="*/ 1318 h 2225"/>
                    <a:gd name="T26" fmla="*/ 1311 w 1915"/>
                    <a:gd name="T27" fmla="*/ 1809 h 2225"/>
                    <a:gd name="T28" fmla="*/ 605 w 1915"/>
                    <a:gd name="T29" fmla="*/ 1809 h 2225"/>
                    <a:gd name="T30" fmla="*/ 605 w 1915"/>
                    <a:gd name="T31" fmla="*/ 1318 h 2225"/>
                    <a:gd name="T32" fmla="*/ 420 w 1915"/>
                    <a:gd name="T33" fmla="*/ 1414 h 2225"/>
                    <a:gd name="T34" fmla="*/ 420 w 1915"/>
                    <a:gd name="T35" fmla="*/ 1809 h 2225"/>
                    <a:gd name="T36" fmla="*/ 462 w 1915"/>
                    <a:gd name="T37" fmla="*/ 740 h 2225"/>
                    <a:gd name="T38" fmla="*/ 564 w 1915"/>
                    <a:gd name="T39" fmla="*/ 1018 h 2225"/>
                    <a:gd name="T40" fmla="*/ 831 w 1915"/>
                    <a:gd name="T41" fmla="*/ 1361 h 2225"/>
                    <a:gd name="T42" fmla="*/ 1077 w 1915"/>
                    <a:gd name="T43" fmla="*/ 1361 h 2225"/>
                    <a:gd name="T44" fmla="*/ 1344 w 1915"/>
                    <a:gd name="T45" fmla="*/ 1018 h 2225"/>
                    <a:gd name="T46" fmla="*/ 1432 w 1915"/>
                    <a:gd name="T47" fmla="*/ 740 h 2225"/>
                    <a:gd name="T48" fmla="*/ 571 w 1915"/>
                    <a:gd name="T49" fmla="*/ 1364 h 2225"/>
                    <a:gd name="T50" fmla="*/ 185 w 1915"/>
                    <a:gd name="T51" fmla="*/ 1489 h 2225"/>
                    <a:gd name="T52" fmla="*/ 0 w 1915"/>
                    <a:gd name="T53" fmla="*/ 2225 h 2225"/>
                    <a:gd name="T54" fmla="*/ 1915 w 1915"/>
                    <a:gd name="T55" fmla="*/ 2225 h 2225"/>
                    <a:gd name="T56" fmla="*/ 1725 w 1915"/>
                    <a:gd name="T57" fmla="*/ 1489 h 2225"/>
                    <a:gd name="T58" fmla="*/ 1343 w 1915"/>
                    <a:gd name="T59" fmla="*/ 1364 h 2225"/>
                    <a:gd name="T60" fmla="*/ 803 w 1915"/>
                    <a:gd name="T61" fmla="*/ 520 h 2225"/>
                    <a:gd name="T62" fmla="*/ 718 w 1915"/>
                    <a:gd name="T63" fmla="*/ 109 h 2225"/>
                    <a:gd name="T64" fmla="*/ 773 w 1915"/>
                    <a:gd name="T65" fmla="*/ 52 h 2225"/>
                    <a:gd name="T66" fmla="*/ 1142 w 1915"/>
                    <a:gd name="T67" fmla="*/ 52 h 2225"/>
                    <a:gd name="T68" fmla="*/ 1198 w 1915"/>
                    <a:gd name="T69" fmla="*/ 109 h 2225"/>
                    <a:gd name="T70" fmla="*/ 1112 w 1915"/>
                    <a:gd name="T71" fmla="*/ 520 h 2225"/>
                    <a:gd name="T72" fmla="*/ 1214 w 1915"/>
                    <a:gd name="T73" fmla="*/ 130 h 2225"/>
                    <a:gd name="T74" fmla="*/ 1432 w 1915"/>
                    <a:gd name="T75" fmla="*/ 500 h 2225"/>
                    <a:gd name="T76" fmla="*/ 1472 w 1915"/>
                    <a:gd name="T77" fmla="*/ 585 h 2225"/>
                    <a:gd name="T78" fmla="*/ 1475 w 1915"/>
                    <a:gd name="T79" fmla="*/ 684 h 2225"/>
                    <a:gd name="T80" fmla="*/ 1470 w 1915"/>
                    <a:gd name="T81" fmla="*/ 702 h 2225"/>
                    <a:gd name="T82" fmla="*/ 1343 w 1915"/>
                    <a:gd name="T83" fmla="*/ 702 h 2225"/>
                    <a:gd name="T84" fmla="*/ 1328 w 1915"/>
                    <a:gd name="T85" fmla="*/ 709 h 2225"/>
                    <a:gd name="T86" fmla="*/ 1302 w 1915"/>
                    <a:gd name="T87" fmla="*/ 734 h 2225"/>
                    <a:gd name="T88" fmla="*/ 613 w 1915"/>
                    <a:gd name="T89" fmla="*/ 734 h 2225"/>
                    <a:gd name="T90" fmla="*/ 588 w 1915"/>
                    <a:gd name="T91" fmla="*/ 709 h 2225"/>
                    <a:gd name="T92" fmla="*/ 572 w 1915"/>
                    <a:gd name="T93" fmla="*/ 702 h 2225"/>
                    <a:gd name="T94" fmla="*/ 446 w 1915"/>
                    <a:gd name="T95" fmla="*/ 702 h 2225"/>
                    <a:gd name="T96" fmla="*/ 440 w 1915"/>
                    <a:gd name="T97" fmla="*/ 684 h 2225"/>
                    <a:gd name="T98" fmla="*/ 444 w 1915"/>
                    <a:gd name="T99" fmla="*/ 585 h 2225"/>
                    <a:gd name="T100" fmla="*/ 483 w 1915"/>
                    <a:gd name="T101" fmla="*/ 500 h 2225"/>
                    <a:gd name="T102" fmla="*/ 701 w 1915"/>
                    <a:gd name="T103" fmla="*/ 130 h 2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15" h="2225">
                      <a:moveTo>
                        <a:pt x="1288" y="2118"/>
                      </a:moveTo>
                      <a:lnTo>
                        <a:pt x="1288" y="2025"/>
                      </a:lnTo>
                      <a:lnTo>
                        <a:pt x="1414" y="2025"/>
                      </a:lnTo>
                      <a:moveTo>
                        <a:pt x="1552" y="2225"/>
                      </a:moveTo>
                      <a:lnTo>
                        <a:pt x="1552" y="1873"/>
                      </a:lnTo>
                      <a:lnTo>
                        <a:pt x="360" y="1873"/>
                      </a:lnTo>
                      <a:lnTo>
                        <a:pt x="360" y="2225"/>
                      </a:lnTo>
                      <a:moveTo>
                        <a:pt x="529" y="2118"/>
                      </a:moveTo>
                      <a:lnTo>
                        <a:pt x="529" y="2025"/>
                      </a:lnTo>
                      <a:lnTo>
                        <a:pt x="654" y="2025"/>
                      </a:lnTo>
                      <a:moveTo>
                        <a:pt x="1495" y="1809"/>
                      </a:moveTo>
                      <a:lnTo>
                        <a:pt x="1495" y="1414"/>
                      </a:lnTo>
                      <a:moveTo>
                        <a:pt x="1311" y="1318"/>
                      </a:moveTo>
                      <a:lnTo>
                        <a:pt x="1311" y="1809"/>
                      </a:lnTo>
                      <a:moveTo>
                        <a:pt x="605" y="1809"/>
                      </a:moveTo>
                      <a:lnTo>
                        <a:pt x="605" y="1318"/>
                      </a:lnTo>
                      <a:moveTo>
                        <a:pt x="420" y="1414"/>
                      </a:moveTo>
                      <a:lnTo>
                        <a:pt x="420" y="1809"/>
                      </a:lnTo>
                      <a:moveTo>
                        <a:pt x="462" y="740"/>
                      </a:moveTo>
                      <a:cubicBezTo>
                        <a:pt x="461" y="817"/>
                        <a:pt x="497" y="979"/>
                        <a:pt x="564" y="1018"/>
                      </a:cubicBezTo>
                      <a:cubicBezTo>
                        <a:pt x="602" y="1167"/>
                        <a:pt x="684" y="1298"/>
                        <a:pt x="831" y="1361"/>
                      </a:cubicBezTo>
                      <a:cubicBezTo>
                        <a:pt x="909" y="1394"/>
                        <a:pt x="999" y="1394"/>
                        <a:pt x="1077" y="1361"/>
                      </a:cubicBezTo>
                      <a:cubicBezTo>
                        <a:pt x="1223" y="1298"/>
                        <a:pt x="1306" y="1167"/>
                        <a:pt x="1344" y="1018"/>
                      </a:cubicBezTo>
                      <a:cubicBezTo>
                        <a:pt x="1437" y="964"/>
                        <a:pt x="1434" y="832"/>
                        <a:pt x="1432" y="740"/>
                      </a:cubicBezTo>
                      <a:moveTo>
                        <a:pt x="571" y="1364"/>
                      </a:moveTo>
                      <a:lnTo>
                        <a:pt x="185" y="1489"/>
                      </a:lnTo>
                      <a:cubicBezTo>
                        <a:pt x="152" y="1499"/>
                        <a:pt x="5" y="2012"/>
                        <a:pt x="0" y="2225"/>
                      </a:cubicBezTo>
                      <a:moveTo>
                        <a:pt x="1915" y="2225"/>
                      </a:moveTo>
                      <a:cubicBezTo>
                        <a:pt x="1910" y="2012"/>
                        <a:pt x="1758" y="1498"/>
                        <a:pt x="1725" y="1489"/>
                      </a:cubicBezTo>
                      <a:lnTo>
                        <a:pt x="1343" y="1364"/>
                      </a:lnTo>
                      <a:moveTo>
                        <a:pt x="803" y="520"/>
                      </a:moveTo>
                      <a:cubicBezTo>
                        <a:pt x="783" y="358"/>
                        <a:pt x="721" y="217"/>
                        <a:pt x="718" y="109"/>
                      </a:cubicBezTo>
                      <a:cubicBezTo>
                        <a:pt x="717" y="91"/>
                        <a:pt x="754" y="61"/>
                        <a:pt x="773" y="52"/>
                      </a:cubicBezTo>
                      <a:cubicBezTo>
                        <a:pt x="891" y="0"/>
                        <a:pt x="1025" y="0"/>
                        <a:pt x="1142" y="52"/>
                      </a:cubicBezTo>
                      <a:cubicBezTo>
                        <a:pt x="1161" y="61"/>
                        <a:pt x="1198" y="91"/>
                        <a:pt x="1198" y="109"/>
                      </a:cubicBezTo>
                      <a:cubicBezTo>
                        <a:pt x="1194" y="217"/>
                        <a:pt x="1133" y="358"/>
                        <a:pt x="1112" y="520"/>
                      </a:cubicBezTo>
                      <a:moveTo>
                        <a:pt x="1214" y="130"/>
                      </a:moveTo>
                      <a:cubicBezTo>
                        <a:pt x="1332" y="212"/>
                        <a:pt x="1419" y="347"/>
                        <a:pt x="1432" y="500"/>
                      </a:cubicBezTo>
                      <a:cubicBezTo>
                        <a:pt x="1434" y="535"/>
                        <a:pt x="1465" y="514"/>
                        <a:pt x="1472" y="585"/>
                      </a:cubicBezTo>
                      <a:cubicBezTo>
                        <a:pt x="1475" y="618"/>
                        <a:pt x="1477" y="651"/>
                        <a:pt x="1475" y="684"/>
                      </a:cubicBezTo>
                      <a:cubicBezTo>
                        <a:pt x="1475" y="692"/>
                        <a:pt x="1473" y="697"/>
                        <a:pt x="1470" y="702"/>
                      </a:cubicBezTo>
                      <a:lnTo>
                        <a:pt x="1343" y="702"/>
                      </a:lnTo>
                      <a:cubicBezTo>
                        <a:pt x="1335" y="702"/>
                        <a:pt x="1330" y="704"/>
                        <a:pt x="1328" y="709"/>
                      </a:cubicBezTo>
                      <a:cubicBezTo>
                        <a:pt x="1321" y="721"/>
                        <a:pt x="1313" y="734"/>
                        <a:pt x="1302" y="734"/>
                      </a:cubicBezTo>
                      <a:lnTo>
                        <a:pt x="613" y="734"/>
                      </a:lnTo>
                      <a:cubicBezTo>
                        <a:pt x="602" y="734"/>
                        <a:pt x="594" y="721"/>
                        <a:pt x="588" y="709"/>
                      </a:cubicBezTo>
                      <a:cubicBezTo>
                        <a:pt x="585" y="704"/>
                        <a:pt x="580" y="702"/>
                        <a:pt x="572" y="702"/>
                      </a:cubicBezTo>
                      <a:lnTo>
                        <a:pt x="446" y="702"/>
                      </a:lnTo>
                      <a:cubicBezTo>
                        <a:pt x="443" y="697"/>
                        <a:pt x="441" y="692"/>
                        <a:pt x="440" y="684"/>
                      </a:cubicBezTo>
                      <a:cubicBezTo>
                        <a:pt x="439" y="651"/>
                        <a:pt x="440" y="618"/>
                        <a:pt x="444" y="585"/>
                      </a:cubicBezTo>
                      <a:cubicBezTo>
                        <a:pt x="451" y="514"/>
                        <a:pt x="482" y="535"/>
                        <a:pt x="483" y="500"/>
                      </a:cubicBezTo>
                      <a:cubicBezTo>
                        <a:pt x="496" y="347"/>
                        <a:pt x="583" y="212"/>
                        <a:pt x="701" y="130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75" name="Content Placeholder 2">
                  <a:extLst>
                    <a:ext uri="{FF2B5EF4-FFF2-40B4-BE49-F238E27FC236}">
                      <a16:creationId xmlns:a16="http://schemas.microsoft.com/office/drawing/2014/main" id="{E47175E4-B55E-8D95-F45B-BB6A9FEC65B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058000" y="1641213"/>
                  <a:ext cx="3312000" cy="1005462"/>
                </a:xfrm>
                <a:prstGeom prst="rect">
                  <a:avLst/>
                </a:prstGeom>
              </p:spPr>
              <p:txBody>
                <a:bodyPr vert="horz" lIns="0" tIns="0" rIns="0" bIns="0" rtlCol="0" anchor="t">
                  <a:noAutofit/>
                </a:bodyPr>
                <a:lstStyle>
                  <a:lvl1pPr marL="0" indent="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Font typeface="Arial" panose="020B0604020202020204" pitchFamily="34" charset="0"/>
                    <a:buNone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0" indent="0" algn="l" defTabSz="914400" rtl="0" eaLnBrk="1" latinLnBrk="0" hangingPunct="1">
                    <a:lnSpc>
                      <a:spcPct val="100000"/>
                    </a:lnSpc>
                    <a:spcBef>
                      <a:spcPts val="992"/>
                    </a:spcBef>
                    <a:spcAft>
                      <a:spcPts val="992"/>
                    </a:spcAft>
                    <a:buFont typeface="Arial" panose="020B0604020202020204" pitchFamily="34" charset="0"/>
                    <a:buNone/>
                    <a:defRPr sz="2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266700" indent="-26670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539750" indent="-27305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806450" indent="-266700"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049"/>
                    </a:spcAft>
                    <a:buClr>
                      <a:schemeClr val="tx2"/>
                    </a:buClr>
                    <a:buSzPct val="85000"/>
                    <a:buFont typeface="Wingdings" panose="05000000000000000000" pitchFamily="2" charset="2"/>
                    <a:buChar char="n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dirty="0">
                      <a:solidFill>
                        <a:schemeClr val="accent1"/>
                      </a:solidFill>
                    </a:rPr>
                    <a:t>Safety Services</a:t>
                  </a:r>
                  <a:endParaRPr lang="en-GB" sz="1100" dirty="0">
                    <a:solidFill>
                      <a:schemeClr val="accent1"/>
                    </a:solidFill>
                  </a:endParaRPr>
                </a:p>
              </p:txBody>
            </p:sp>
          </p:grpSp>
        </p:grpSp>
        <p:sp>
          <p:nvSpPr>
            <p:cNvPr id="72" name="Content Placeholder 2">
              <a:extLst>
                <a:ext uri="{FF2B5EF4-FFF2-40B4-BE49-F238E27FC236}">
                  <a16:creationId xmlns:a16="http://schemas.microsoft.com/office/drawing/2014/main" id="{85682B46-64A0-5614-EE3F-09FC32148638}"/>
                </a:ext>
              </a:extLst>
            </p:cNvPr>
            <p:cNvSpPr txBox="1">
              <a:spLocks/>
            </p:cNvSpPr>
            <p:nvPr/>
          </p:nvSpPr>
          <p:spPr>
            <a:xfrm>
              <a:off x="4326978" y="4958193"/>
              <a:ext cx="2130112" cy="276026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992"/>
                </a:spcBef>
                <a:spcAft>
                  <a:spcPts val="992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66700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2730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6450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schemeClr val="accent1"/>
                  </a:solidFill>
                </a:rPr>
                <a:t>Capital Project Delivery</a:t>
              </a:r>
            </a:p>
            <a:p>
              <a:endParaRPr lang="en-GB" sz="1100" dirty="0">
                <a:solidFill>
                  <a:schemeClr val="accent1"/>
                </a:solidFill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71582D53-5B8D-B4B5-72C5-DCC5733A40B8}"/>
                </a:ext>
              </a:extLst>
            </p:cNvPr>
            <p:cNvGrpSpPr/>
            <p:nvPr/>
          </p:nvGrpSpPr>
          <p:grpSpPr>
            <a:xfrm>
              <a:off x="3902431" y="4953000"/>
              <a:ext cx="361650" cy="257956"/>
              <a:chOff x="9899115" y="4420175"/>
              <a:chExt cx="557926" cy="343613"/>
            </a:xfrm>
          </p:grpSpPr>
          <p:sp>
            <p:nvSpPr>
              <p:cNvPr id="79" name="AutoShape 18">
                <a:extLst>
                  <a:ext uri="{FF2B5EF4-FFF2-40B4-BE49-F238E27FC236}">
                    <a16:creationId xmlns:a16="http://schemas.microsoft.com/office/drawing/2014/main" id="{A26DCE37-66B4-8984-B118-6B578C77249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9899115" y="4420175"/>
                <a:ext cx="557926" cy="343613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0" name="Rectangle 32">
                <a:extLst>
                  <a:ext uri="{FF2B5EF4-FFF2-40B4-BE49-F238E27FC236}">
                    <a16:creationId xmlns:a16="http://schemas.microsoft.com/office/drawing/2014/main" id="{2418CADB-FF4E-CFFE-D200-7C77A785C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420966"/>
                <a:ext cx="555949" cy="4744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Rectangle 33">
                <a:extLst>
                  <a:ext uri="{FF2B5EF4-FFF2-40B4-BE49-F238E27FC236}">
                    <a16:creationId xmlns:a16="http://schemas.microsoft.com/office/drawing/2014/main" id="{04C13A27-E44C-0D3E-74B7-F68C897F82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501234"/>
                <a:ext cx="555949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Rectangle 34">
                <a:extLst>
                  <a:ext uri="{FF2B5EF4-FFF2-40B4-BE49-F238E27FC236}">
                    <a16:creationId xmlns:a16="http://schemas.microsoft.com/office/drawing/2014/main" id="{44D17F7F-5F4C-301B-BC95-30DBAC166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534054"/>
                <a:ext cx="555949" cy="32819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Rectangle 35">
                <a:extLst>
                  <a:ext uri="{FF2B5EF4-FFF2-40B4-BE49-F238E27FC236}">
                    <a16:creationId xmlns:a16="http://schemas.microsoft.com/office/drawing/2014/main" id="{5A62117C-6A04-BB4C-F154-5D48309DC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566873"/>
                <a:ext cx="555949" cy="32819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Rectangle 36">
                <a:extLst>
                  <a:ext uri="{FF2B5EF4-FFF2-40B4-BE49-F238E27FC236}">
                    <a16:creationId xmlns:a16="http://schemas.microsoft.com/office/drawing/2014/main" id="{56F51FF2-89BF-E9E9-89C4-7186EDE6AB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599692"/>
                <a:ext cx="555949" cy="32424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Rectangle 38">
                <a:extLst>
                  <a:ext uri="{FF2B5EF4-FFF2-40B4-BE49-F238E27FC236}">
                    <a16:creationId xmlns:a16="http://schemas.microsoft.com/office/drawing/2014/main" id="{CFE351BA-E864-09F6-240C-D01529C4CA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632116"/>
                <a:ext cx="555949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Rectangle 39">
                <a:extLst>
                  <a:ext uri="{FF2B5EF4-FFF2-40B4-BE49-F238E27FC236}">
                    <a16:creationId xmlns:a16="http://schemas.microsoft.com/office/drawing/2014/main" id="{A601669A-CE85-191B-9A8A-2AE84397D8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664935"/>
                <a:ext cx="555949" cy="32819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7" name="Rectangle 40">
                <a:extLst>
                  <a:ext uri="{FF2B5EF4-FFF2-40B4-BE49-F238E27FC236}">
                    <a16:creationId xmlns:a16="http://schemas.microsoft.com/office/drawing/2014/main" id="{1A589000-8CF2-CBEB-2F71-54AE618217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697754"/>
                <a:ext cx="555949" cy="32424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8" name="Rectangle 41">
                <a:extLst>
                  <a:ext uri="{FF2B5EF4-FFF2-40B4-BE49-F238E27FC236}">
                    <a16:creationId xmlns:a16="http://schemas.microsoft.com/office/drawing/2014/main" id="{B73F2589-A4B9-93EC-CFBE-4BC4DBC3B5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00301" y="4730178"/>
                <a:ext cx="555949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9" name="Rectangle 43">
                <a:extLst>
                  <a:ext uri="{FF2B5EF4-FFF2-40B4-BE49-F238E27FC236}">
                    <a16:creationId xmlns:a16="http://schemas.microsoft.com/office/drawing/2014/main" id="{CB43EC13-6642-F5EE-5FC6-8760AED2C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78276" y="4420966"/>
                <a:ext cx="139185" cy="341636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0" name="Rectangle 44">
                <a:extLst>
                  <a:ext uri="{FF2B5EF4-FFF2-40B4-BE49-F238E27FC236}">
                    <a16:creationId xmlns:a16="http://schemas.microsoft.com/office/drawing/2014/main" id="{D17AA0BC-5665-FB94-2E4C-E50E9F982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17461" y="4420966"/>
                <a:ext cx="138790" cy="341636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1" name="Rectangle 45">
                <a:extLst>
                  <a:ext uri="{FF2B5EF4-FFF2-40B4-BE49-F238E27FC236}">
                    <a16:creationId xmlns:a16="http://schemas.microsoft.com/office/drawing/2014/main" id="{BE7E6EF2-E530-6171-ED2C-AD0EFCA0BD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39486" y="4468415"/>
                <a:ext cx="69197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2" name="Rectangle 46">
                <a:extLst>
                  <a:ext uri="{FF2B5EF4-FFF2-40B4-BE49-F238E27FC236}">
                    <a16:creationId xmlns:a16="http://schemas.microsoft.com/office/drawing/2014/main" id="{DA97D8B2-C7AA-3EE4-35CD-324760E74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78276" y="4468415"/>
                <a:ext cx="69592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3" name="Rectangle 47">
                <a:extLst>
                  <a:ext uri="{FF2B5EF4-FFF2-40B4-BE49-F238E27FC236}">
                    <a16:creationId xmlns:a16="http://schemas.microsoft.com/office/drawing/2014/main" id="{E2B08415-E5F1-DDD5-3F0B-28A988827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17461" y="4468415"/>
                <a:ext cx="69197" cy="32819"/>
              </a:xfrm>
              <a:prstGeom prst="rect">
                <a:avLst/>
              </a:prstGeom>
              <a:noFill/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4" name="Rectangle 49">
                <a:extLst>
                  <a:ext uri="{FF2B5EF4-FFF2-40B4-BE49-F238E27FC236}">
                    <a16:creationId xmlns:a16="http://schemas.microsoft.com/office/drawing/2014/main" id="{73302103-C369-3594-32A8-7B39ACEAC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9906" y="4468415"/>
                <a:ext cx="69592" cy="32819"/>
              </a:xfrm>
              <a:prstGeom prst="rect">
                <a:avLst/>
              </a:prstGeom>
              <a:solidFill>
                <a:srgbClr val="FFFFFF"/>
              </a:solidFill>
              <a:ln w="635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5" name="Rectangle 24">
                <a:extLst>
                  <a:ext uri="{FF2B5EF4-FFF2-40B4-BE49-F238E27FC236}">
                    <a16:creationId xmlns:a16="http://schemas.microsoft.com/office/drawing/2014/main" id="{4D95BB68-D66A-9952-72C4-CE6199B59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9906" y="4507166"/>
                <a:ext cx="138790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6" name="Rectangle 25">
                <a:extLst>
                  <a:ext uri="{FF2B5EF4-FFF2-40B4-BE49-F238E27FC236}">
                    <a16:creationId xmlns:a16="http://schemas.microsoft.com/office/drawing/2014/main" id="{1976D7B2-5819-E183-F000-1364A61A13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38695" y="4539985"/>
                <a:ext cx="278765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7" name="Rectangle 26">
                <a:extLst>
                  <a:ext uri="{FF2B5EF4-FFF2-40B4-BE49-F238E27FC236}">
                    <a16:creationId xmlns:a16="http://schemas.microsoft.com/office/drawing/2014/main" id="{4831AD31-A771-C4AF-E2B9-42CA6E6B8B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69498" y="4572804"/>
                <a:ext cx="138790" cy="20561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8" name="Rectangle 27">
                <a:extLst>
                  <a:ext uri="{FF2B5EF4-FFF2-40B4-BE49-F238E27FC236}">
                    <a16:creationId xmlns:a16="http://schemas.microsoft.com/office/drawing/2014/main" id="{D84662A7-44F3-CCDF-B107-A71DC5CD9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08683" y="4605228"/>
                <a:ext cx="278765" cy="20561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9" name="Rectangle 28">
                <a:extLst>
                  <a:ext uri="{FF2B5EF4-FFF2-40B4-BE49-F238E27FC236}">
                    <a16:creationId xmlns:a16="http://schemas.microsoft.com/office/drawing/2014/main" id="{EB936CB3-2201-A6F2-111C-8C0CB89719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38695" y="4638047"/>
                <a:ext cx="209568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0" name="Rectangle 29">
                <a:extLst>
                  <a:ext uri="{FF2B5EF4-FFF2-40B4-BE49-F238E27FC236}">
                    <a16:creationId xmlns:a16="http://schemas.microsoft.com/office/drawing/2014/main" id="{6F433181-6CA4-40C5-8999-D43F57F351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38695" y="4703685"/>
                <a:ext cx="348753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1" name="Rectangle 30">
                <a:extLst>
                  <a:ext uri="{FF2B5EF4-FFF2-40B4-BE49-F238E27FC236}">
                    <a16:creationId xmlns:a16="http://schemas.microsoft.com/office/drawing/2014/main" id="{DDC26A1D-AF57-92F0-BB02-3453FA3D6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08288" y="4670866"/>
                <a:ext cx="139185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2" name="Rectangle 31">
                <a:extLst>
                  <a:ext uri="{FF2B5EF4-FFF2-40B4-BE49-F238E27FC236}">
                    <a16:creationId xmlns:a16="http://schemas.microsoft.com/office/drawing/2014/main" id="{3F73596B-DB2A-E3A7-A8E8-6B65364DBD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12677" y="4736109"/>
                <a:ext cx="242783" cy="20957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7F982C93-3328-3E20-31AD-26F34C0877B0}"/>
                </a:ext>
              </a:extLst>
            </p:cNvPr>
            <p:cNvSpPr txBox="1"/>
            <p:nvPr/>
          </p:nvSpPr>
          <p:spPr>
            <a:xfrm>
              <a:off x="685800" y="4635698"/>
              <a:ext cx="618648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400" b="1" dirty="0"/>
                <a:t>ERM Services include:</a:t>
              </a:r>
              <a:endParaRPr lang="en-US" sz="1400" b="1" dirty="0"/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F2F77AA-616F-E148-D8E2-8031ECAFE93A}"/>
                </a:ext>
              </a:extLst>
            </p:cNvPr>
            <p:cNvGrpSpPr/>
            <p:nvPr/>
          </p:nvGrpSpPr>
          <p:grpSpPr>
            <a:xfrm>
              <a:off x="3964929" y="6088425"/>
              <a:ext cx="256117" cy="237727"/>
              <a:chOff x="961032" y="4947515"/>
              <a:chExt cx="329990" cy="308634"/>
            </a:xfrm>
            <a:solidFill>
              <a:schemeClr val="accent3"/>
            </a:solidFill>
          </p:grpSpPr>
          <p:sp>
            <p:nvSpPr>
              <p:cNvPr id="112" name="Freeform 23">
                <a:extLst>
                  <a:ext uri="{FF2B5EF4-FFF2-40B4-BE49-F238E27FC236}">
                    <a16:creationId xmlns:a16="http://schemas.microsoft.com/office/drawing/2014/main" id="{8D850336-1B12-EDA4-0631-9BE31289FA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1032" y="4947515"/>
                <a:ext cx="134338" cy="135027"/>
              </a:xfrm>
              <a:custGeom>
                <a:avLst/>
                <a:gdLst>
                  <a:gd name="T0" fmla="*/ 71 w 847"/>
                  <a:gd name="T1" fmla="*/ 776 h 847"/>
                  <a:gd name="T2" fmla="*/ 775 w 847"/>
                  <a:gd name="T3" fmla="*/ 776 h 847"/>
                  <a:gd name="T4" fmla="*/ 776 w 847"/>
                  <a:gd name="T5" fmla="*/ 71 h 847"/>
                  <a:gd name="T6" fmla="*/ 71 w 847"/>
                  <a:gd name="T7" fmla="*/ 776 h 847"/>
                  <a:gd name="T8" fmla="*/ 810 w 847"/>
                  <a:gd name="T9" fmla="*/ 847 h 847"/>
                  <a:gd name="T10" fmla="*/ 810 w 847"/>
                  <a:gd name="T11" fmla="*/ 847 h 847"/>
                  <a:gd name="T12" fmla="*/ 35 w 847"/>
                  <a:gd name="T13" fmla="*/ 847 h 847"/>
                  <a:gd name="T14" fmla="*/ 0 w 847"/>
                  <a:gd name="T15" fmla="*/ 811 h 847"/>
                  <a:gd name="T16" fmla="*/ 811 w 847"/>
                  <a:gd name="T17" fmla="*/ 0 h 847"/>
                  <a:gd name="T18" fmla="*/ 836 w 847"/>
                  <a:gd name="T19" fmla="*/ 10 h 847"/>
                  <a:gd name="T20" fmla="*/ 847 w 847"/>
                  <a:gd name="T21" fmla="*/ 35 h 847"/>
                  <a:gd name="T22" fmla="*/ 845 w 847"/>
                  <a:gd name="T23" fmla="*/ 812 h 847"/>
                  <a:gd name="T24" fmla="*/ 810 w 847"/>
                  <a:gd name="T25" fmla="*/ 847 h 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47" h="847">
                    <a:moveTo>
                      <a:pt x="71" y="776"/>
                    </a:moveTo>
                    <a:lnTo>
                      <a:pt x="775" y="776"/>
                    </a:lnTo>
                    <a:lnTo>
                      <a:pt x="776" y="71"/>
                    </a:lnTo>
                    <a:cubicBezTo>
                      <a:pt x="396" y="89"/>
                      <a:pt x="89" y="396"/>
                      <a:pt x="71" y="776"/>
                    </a:cubicBezTo>
                    <a:close/>
                    <a:moveTo>
                      <a:pt x="810" y="847"/>
                    </a:moveTo>
                    <a:lnTo>
                      <a:pt x="810" y="847"/>
                    </a:lnTo>
                    <a:lnTo>
                      <a:pt x="35" y="847"/>
                    </a:lnTo>
                    <a:cubicBezTo>
                      <a:pt x="16" y="847"/>
                      <a:pt x="0" y="831"/>
                      <a:pt x="0" y="811"/>
                    </a:cubicBezTo>
                    <a:cubicBezTo>
                      <a:pt x="0" y="364"/>
                      <a:pt x="364" y="0"/>
                      <a:pt x="811" y="0"/>
                    </a:cubicBezTo>
                    <a:cubicBezTo>
                      <a:pt x="821" y="0"/>
                      <a:pt x="830" y="4"/>
                      <a:pt x="836" y="10"/>
                    </a:cubicBezTo>
                    <a:cubicBezTo>
                      <a:pt x="843" y="17"/>
                      <a:pt x="847" y="26"/>
                      <a:pt x="847" y="35"/>
                    </a:cubicBezTo>
                    <a:lnTo>
                      <a:pt x="845" y="812"/>
                    </a:lnTo>
                    <a:cubicBezTo>
                      <a:pt x="845" y="831"/>
                      <a:pt x="829" y="847"/>
                      <a:pt x="810" y="847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Freeform 24">
                <a:extLst>
                  <a:ext uri="{FF2B5EF4-FFF2-40B4-BE49-F238E27FC236}">
                    <a16:creationId xmlns:a16="http://schemas.microsoft.com/office/drawing/2014/main" id="{8B1E6639-DC85-47EC-EB96-3A6E821631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1032" y="5070831"/>
                <a:ext cx="134338" cy="112982"/>
              </a:xfrm>
              <a:custGeom>
                <a:avLst/>
                <a:gdLst>
                  <a:gd name="T0" fmla="*/ 71 w 847"/>
                  <a:gd name="T1" fmla="*/ 71 h 709"/>
                  <a:gd name="T2" fmla="*/ 364 w 847"/>
                  <a:gd name="T3" fmla="*/ 624 h 709"/>
                  <a:gd name="T4" fmla="*/ 743 w 847"/>
                  <a:gd name="T5" fmla="*/ 71 h 709"/>
                  <a:gd name="T6" fmla="*/ 71 w 847"/>
                  <a:gd name="T7" fmla="*/ 71 h 709"/>
                  <a:gd name="T8" fmla="*/ 372 w 847"/>
                  <a:gd name="T9" fmla="*/ 709 h 709"/>
                  <a:gd name="T10" fmla="*/ 352 w 847"/>
                  <a:gd name="T11" fmla="*/ 702 h 709"/>
                  <a:gd name="T12" fmla="*/ 0 w 847"/>
                  <a:gd name="T13" fmla="*/ 36 h 709"/>
                  <a:gd name="T14" fmla="*/ 35 w 847"/>
                  <a:gd name="T15" fmla="*/ 0 h 709"/>
                  <a:gd name="T16" fmla="*/ 810 w 847"/>
                  <a:gd name="T17" fmla="*/ 0 h 709"/>
                  <a:gd name="T18" fmla="*/ 841 w 847"/>
                  <a:gd name="T19" fmla="*/ 19 h 709"/>
                  <a:gd name="T20" fmla="*/ 839 w 847"/>
                  <a:gd name="T21" fmla="*/ 56 h 709"/>
                  <a:gd name="T22" fmla="*/ 401 w 847"/>
                  <a:gd name="T23" fmla="*/ 693 h 709"/>
                  <a:gd name="T24" fmla="*/ 379 w 847"/>
                  <a:gd name="T25" fmla="*/ 708 h 709"/>
                  <a:gd name="T26" fmla="*/ 372 w 847"/>
                  <a:gd name="T27" fmla="*/ 70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47" h="709">
                    <a:moveTo>
                      <a:pt x="71" y="71"/>
                    </a:moveTo>
                    <a:cubicBezTo>
                      <a:pt x="82" y="289"/>
                      <a:pt x="189" y="491"/>
                      <a:pt x="364" y="624"/>
                    </a:cubicBezTo>
                    <a:lnTo>
                      <a:pt x="743" y="71"/>
                    </a:lnTo>
                    <a:lnTo>
                      <a:pt x="71" y="71"/>
                    </a:lnTo>
                    <a:close/>
                    <a:moveTo>
                      <a:pt x="372" y="709"/>
                    </a:moveTo>
                    <a:cubicBezTo>
                      <a:pt x="365" y="709"/>
                      <a:pt x="358" y="706"/>
                      <a:pt x="352" y="702"/>
                    </a:cubicBezTo>
                    <a:cubicBezTo>
                      <a:pt x="132" y="551"/>
                      <a:pt x="0" y="301"/>
                      <a:pt x="0" y="36"/>
                    </a:cubicBezTo>
                    <a:cubicBezTo>
                      <a:pt x="0" y="16"/>
                      <a:pt x="16" y="0"/>
                      <a:pt x="35" y="0"/>
                    </a:cubicBezTo>
                    <a:lnTo>
                      <a:pt x="810" y="0"/>
                    </a:lnTo>
                    <a:cubicBezTo>
                      <a:pt x="823" y="0"/>
                      <a:pt x="835" y="8"/>
                      <a:pt x="841" y="19"/>
                    </a:cubicBezTo>
                    <a:cubicBezTo>
                      <a:pt x="847" y="31"/>
                      <a:pt x="846" y="45"/>
                      <a:pt x="839" y="56"/>
                    </a:cubicBezTo>
                    <a:lnTo>
                      <a:pt x="401" y="693"/>
                    </a:lnTo>
                    <a:cubicBezTo>
                      <a:pt x="396" y="701"/>
                      <a:pt x="388" y="706"/>
                      <a:pt x="379" y="708"/>
                    </a:cubicBezTo>
                    <a:cubicBezTo>
                      <a:pt x="376" y="708"/>
                      <a:pt x="374" y="709"/>
                      <a:pt x="372" y="709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4" name="Freeform 25">
                <a:extLst>
                  <a:ext uri="{FF2B5EF4-FFF2-40B4-BE49-F238E27FC236}">
                    <a16:creationId xmlns:a16="http://schemas.microsoft.com/office/drawing/2014/main" id="{DEF7ED6D-A489-798B-4504-D11518D93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5704" y="4948893"/>
                <a:ext cx="112982" cy="163962"/>
              </a:xfrm>
              <a:custGeom>
                <a:avLst/>
                <a:gdLst>
                  <a:gd name="T0" fmla="*/ 649 w 709"/>
                  <a:gd name="T1" fmla="*/ 1030 h 1030"/>
                  <a:gd name="T2" fmla="*/ 641 w 709"/>
                  <a:gd name="T3" fmla="*/ 1029 h 1030"/>
                  <a:gd name="T4" fmla="*/ 615 w 709"/>
                  <a:gd name="T5" fmla="*/ 986 h 1030"/>
                  <a:gd name="T6" fmla="*/ 638 w 709"/>
                  <a:gd name="T7" fmla="*/ 801 h 1030"/>
                  <a:gd name="T8" fmla="*/ 31 w 709"/>
                  <a:gd name="T9" fmla="*/ 73 h 1030"/>
                  <a:gd name="T10" fmla="*/ 3 w 709"/>
                  <a:gd name="T11" fmla="*/ 32 h 1030"/>
                  <a:gd name="T12" fmla="*/ 44 w 709"/>
                  <a:gd name="T13" fmla="*/ 3 h 1030"/>
                  <a:gd name="T14" fmla="*/ 709 w 709"/>
                  <a:gd name="T15" fmla="*/ 801 h 1030"/>
                  <a:gd name="T16" fmla="*/ 683 w 709"/>
                  <a:gd name="T17" fmla="*/ 1003 h 1030"/>
                  <a:gd name="T18" fmla="*/ 649 w 709"/>
                  <a:gd name="T19" fmla="*/ 1030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09" h="1030">
                    <a:moveTo>
                      <a:pt x="649" y="1030"/>
                    </a:moveTo>
                    <a:cubicBezTo>
                      <a:pt x="646" y="1030"/>
                      <a:pt x="643" y="1030"/>
                      <a:pt x="641" y="1029"/>
                    </a:cubicBezTo>
                    <a:cubicBezTo>
                      <a:pt x="622" y="1024"/>
                      <a:pt x="610" y="1005"/>
                      <a:pt x="615" y="986"/>
                    </a:cubicBezTo>
                    <a:cubicBezTo>
                      <a:pt x="630" y="926"/>
                      <a:pt x="638" y="864"/>
                      <a:pt x="638" y="801"/>
                    </a:cubicBezTo>
                    <a:cubicBezTo>
                      <a:pt x="638" y="443"/>
                      <a:pt x="383" y="137"/>
                      <a:pt x="31" y="73"/>
                    </a:cubicBezTo>
                    <a:cubicBezTo>
                      <a:pt x="12" y="69"/>
                      <a:pt x="0" y="51"/>
                      <a:pt x="3" y="32"/>
                    </a:cubicBezTo>
                    <a:cubicBezTo>
                      <a:pt x="7" y="12"/>
                      <a:pt x="25" y="0"/>
                      <a:pt x="44" y="3"/>
                    </a:cubicBezTo>
                    <a:cubicBezTo>
                      <a:pt x="429" y="74"/>
                      <a:pt x="709" y="409"/>
                      <a:pt x="709" y="801"/>
                    </a:cubicBezTo>
                    <a:cubicBezTo>
                      <a:pt x="709" y="870"/>
                      <a:pt x="700" y="938"/>
                      <a:pt x="683" y="1003"/>
                    </a:cubicBezTo>
                    <a:cubicBezTo>
                      <a:pt x="679" y="1019"/>
                      <a:pt x="665" y="1030"/>
                      <a:pt x="649" y="1030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5" name="Freeform 26">
                <a:extLst>
                  <a:ext uri="{FF2B5EF4-FFF2-40B4-BE49-F238E27FC236}">
                    <a16:creationId xmlns:a16="http://schemas.microsoft.com/office/drawing/2014/main" id="{0120BF25-D5AD-B601-D85C-E870F2F9C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68" y="5183124"/>
                <a:ext cx="55113" cy="22734"/>
              </a:xfrm>
              <a:custGeom>
                <a:avLst/>
                <a:gdLst>
                  <a:gd name="T0" fmla="*/ 313 w 349"/>
                  <a:gd name="T1" fmla="*/ 142 h 142"/>
                  <a:gd name="T2" fmla="*/ 311 w 349"/>
                  <a:gd name="T3" fmla="*/ 141 h 142"/>
                  <a:gd name="T4" fmla="*/ 26 w 349"/>
                  <a:gd name="T5" fmla="*/ 72 h 142"/>
                  <a:gd name="T6" fmla="*/ 8 w 349"/>
                  <a:gd name="T7" fmla="*/ 26 h 142"/>
                  <a:gd name="T8" fmla="*/ 55 w 349"/>
                  <a:gd name="T9" fmla="*/ 8 h 142"/>
                  <a:gd name="T10" fmla="*/ 315 w 349"/>
                  <a:gd name="T11" fmla="*/ 71 h 142"/>
                  <a:gd name="T12" fmla="*/ 348 w 349"/>
                  <a:gd name="T13" fmla="*/ 108 h 142"/>
                  <a:gd name="T14" fmla="*/ 313 w 349"/>
                  <a:gd name="T15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9" h="142">
                    <a:moveTo>
                      <a:pt x="313" y="142"/>
                    </a:moveTo>
                    <a:cubicBezTo>
                      <a:pt x="312" y="142"/>
                      <a:pt x="312" y="142"/>
                      <a:pt x="311" y="141"/>
                    </a:cubicBezTo>
                    <a:cubicBezTo>
                      <a:pt x="212" y="136"/>
                      <a:pt x="116" y="113"/>
                      <a:pt x="26" y="72"/>
                    </a:cubicBezTo>
                    <a:cubicBezTo>
                      <a:pt x="8" y="64"/>
                      <a:pt x="0" y="43"/>
                      <a:pt x="8" y="26"/>
                    </a:cubicBezTo>
                    <a:cubicBezTo>
                      <a:pt x="16" y="8"/>
                      <a:pt x="37" y="0"/>
                      <a:pt x="55" y="8"/>
                    </a:cubicBezTo>
                    <a:cubicBezTo>
                      <a:pt x="137" y="45"/>
                      <a:pt x="225" y="66"/>
                      <a:pt x="315" y="71"/>
                    </a:cubicBezTo>
                    <a:cubicBezTo>
                      <a:pt x="334" y="72"/>
                      <a:pt x="349" y="89"/>
                      <a:pt x="348" y="108"/>
                    </a:cubicBezTo>
                    <a:cubicBezTo>
                      <a:pt x="347" y="127"/>
                      <a:pt x="332" y="142"/>
                      <a:pt x="313" y="142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6" name="Freeform 27">
                <a:extLst>
                  <a:ext uri="{FF2B5EF4-FFF2-40B4-BE49-F238E27FC236}">
                    <a16:creationId xmlns:a16="http://schemas.microsoft.com/office/drawing/2014/main" id="{16CD650E-057B-1AE1-7F90-967BBAE70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9709" y="5015029"/>
                <a:ext cx="61313" cy="241120"/>
              </a:xfrm>
              <a:custGeom>
                <a:avLst/>
                <a:gdLst>
                  <a:gd name="T0" fmla="*/ 71 w 388"/>
                  <a:gd name="T1" fmla="*/ 1447 h 1517"/>
                  <a:gd name="T2" fmla="*/ 318 w 388"/>
                  <a:gd name="T3" fmla="*/ 1447 h 1517"/>
                  <a:gd name="T4" fmla="*/ 318 w 388"/>
                  <a:gd name="T5" fmla="*/ 106 h 1517"/>
                  <a:gd name="T6" fmla="*/ 283 w 388"/>
                  <a:gd name="T7" fmla="*/ 71 h 1517"/>
                  <a:gd name="T8" fmla="*/ 106 w 388"/>
                  <a:gd name="T9" fmla="*/ 71 h 1517"/>
                  <a:gd name="T10" fmla="*/ 71 w 388"/>
                  <a:gd name="T11" fmla="*/ 106 h 1517"/>
                  <a:gd name="T12" fmla="*/ 71 w 388"/>
                  <a:gd name="T13" fmla="*/ 1447 h 1517"/>
                  <a:gd name="T14" fmla="*/ 353 w 388"/>
                  <a:gd name="T15" fmla="*/ 1517 h 1517"/>
                  <a:gd name="T16" fmla="*/ 36 w 388"/>
                  <a:gd name="T17" fmla="*/ 1517 h 1517"/>
                  <a:gd name="T18" fmla="*/ 0 w 388"/>
                  <a:gd name="T19" fmla="*/ 1482 h 1517"/>
                  <a:gd name="T20" fmla="*/ 0 w 388"/>
                  <a:gd name="T21" fmla="*/ 106 h 1517"/>
                  <a:gd name="T22" fmla="*/ 106 w 388"/>
                  <a:gd name="T23" fmla="*/ 0 h 1517"/>
                  <a:gd name="T24" fmla="*/ 283 w 388"/>
                  <a:gd name="T25" fmla="*/ 0 h 1517"/>
                  <a:gd name="T26" fmla="*/ 388 w 388"/>
                  <a:gd name="T27" fmla="*/ 106 h 1517"/>
                  <a:gd name="T28" fmla="*/ 388 w 388"/>
                  <a:gd name="T29" fmla="*/ 1482 h 1517"/>
                  <a:gd name="T30" fmla="*/ 353 w 388"/>
                  <a:gd name="T31" fmla="*/ 1517 h 1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8" h="1517">
                    <a:moveTo>
                      <a:pt x="71" y="1447"/>
                    </a:moveTo>
                    <a:lnTo>
                      <a:pt x="318" y="1447"/>
                    </a:lnTo>
                    <a:lnTo>
                      <a:pt x="318" y="106"/>
                    </a:lnTo>
                    <a:cubicBezTo>
                      <a:pt x="318" y="87"/>
                      <a:pt x="302" y="71"/>
                      <a:pt x="283" y="71"/>
                    </a:cubicBezTo>
                    <a:lnTo>
                      <a:pt x="106" y="71"/>
                    </a:lnTo>
                    <a:cubicBezTo>
                      <a:pt x="87" y="71"/>
                      <a:pt x="71" y="87"/>
                      <a:pt x="71" y="106"/>
                    </a:cubicBezTo>
                    <a:lnTo>
                      <a:pt x="71" y="1447"/>
                    </a:lnTo>
                    <a:close/>
                    <a:moveTo>
                      <a:pt x="353" y="1517"/>
                    </a:moveTo>
                    <a:lnTo>
                      <a:pt x="36" y="1517"/>
                    </a:lnTo>
                    <a:cubicBezTo>
                      <a:pt x="16" y="1517"/>
                      <a:pt x="0" y="1501"/>
                      <a:pt x="0" y="1482"/>
                    </a:cubicBezTo>
                    <a:lnTo>
                      <a:pt x="0" y="106"/>
                    </a:lnTo>
                    <a:cubicBezTo>
                      <a:pt x="0" y="48"/>
                      <a:pt x="48" y="0"/>
                      <a:pt x="106" y="0"/>
                    </a:cubicBezTo>
                    <a:lnTo>
                      <a:pt x="283" y="0"/>
                    </a:lnTo>
                    <a:cubicBezTo>
                      <a:pt x="341" y="0"/>
                      <a:pt x="388" y="48"/>
                      <a:pt x="388" y="106"/>
                    </a:cubicBezTo>
                    <a:lnTo>
                      <a:pt x="388" y="1482"/>
                    </a:lnTo>
                    <a:cubicBezTo>
                      <a:pt x="388" y="1501"/>
                      <a:pt x="373" y="1517"/>
                      <a:pt x="353" y="1517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7" name="Freeform 28">
                <a:extLst>
                  <a:ext uri="{FF2B5EF4-FFF2-40B4-BE49-F238E27FC236}">
                    <a16:creationId xmlns:a16="http://schemas.microsoft.com/office/drawing/2014/main" id="{F631FA7C-5B05-AE39-5F6D-2EAFD1A3EC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9418" y="5121811"/>
                <a:ext cx="61313" cy="134338"/>
              </a:xfrm>
              <a:custGeom>
                <a:avLst/>
                <a:gdLst>
                  <a:gd name="T0" fmla="*/ 70 w 388"/>
                  <a:gd name="T1" fmla="*/ 776 h 846"/>
                  <a:gd name="T2" fmla="*/ 317 w 388"/>
                  <a:gd name="T3" fmla="*/ 776 h 846"/>
                  <a:gd name="T4" fmla="*/ 317 w 388"/>
                  <a:gd name="T5" fmla="*/ 105 h 846"/>
                  <a:gd name="T6" fmla="*/ 282 w 388"/>
                  <a:gd name="T7" fmla="*/ 70 h 846"/>
                  <a:gd name="T8" fmla="*/ 106 w 388"/>
                  <a:gd name="T9" fmla="*/ 70 h 846"/>
                  <a:gd name="T10" fmla="*/ 70 w 388"/>
                  <a:gd name="T11" fmla="*/ 105 h 846"/>
                  <a:gd name="T12" fmla="*/ 70 w 388"/>
                  <a:gd name="T13" fmla="*/ 776 h 846"/>
                  <a:gd name="T14" fmla="*/ 353 w 388"/>
                  <a:gd name="T15" fmla="*/ 846 h 846"/>
                  <a:gd name="T16" fmla="*/ 35 w 388"/>
                  <a:gd name="T17" fmla="*/ 846 h 846"/>
                  <a:gd name="T18" fmla="*/ 0 w 388"/>
                  <a:gd name="T19" fmla="*/ 811 h 846"/>
                  <a:gd name="T20" fmla="*/ 0 w 388"/>
                  <a:gd name="T21" fmla="*/ 105 h 846"/>
                  <a:gd name="T22" fmla="*/ 106 w 388"/>
                  <a:gd name="T23" fmla="*/ 0 h 846"/>
                  <a:gd name="T24" fmla="*/ 282 w 388"/>
                  <a:gd name="T25" fmla="*/ 0 h 846"/>
                  <a:gd name="T26" fmla="*/ 388 w 388"/>
                  <a:gd name="T27" fmla="*/ 105 h 846"/>
                  <a:gd name="T28" fmla="*/ 388 w 388"/>
                  <a:gd name="T29" fmla="*/ 811 h 846"/>
                  <a:gd name="T30" fmla="*/ 353 w 388"/>
                  <a:gd name="T31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8" h="846">
                    <a:moveTo>
                      <a:pt x="70" y="776"/>
                    </a:moveTo>
                    <a:lnTo>
                      <a:pt x="317" y="776"/>
                    </a:lnTo>
                    <a:lnTo>
                      <a:pt x="317" y="105"/>
                    </a:lnTo>
                    <a:cubicBezTo>
                      <a:pt x="317" y="86"/>
                      <a:pt x="302" y="70"/>
                      <a:pt x="282" y="70"/>
                    </a:cubicBezTo>
                    <a:lnTo>
                      <a:pt x="106" y="70"/>
                    </a:lnTo>
                    <a:cubicBezTo>
                      <a:pt x="86" y="70"/>
                      <a:pt x="70" y="86"/>
                      <a:pt x="70" y="105"/>
                    </a:cubicBezTo>
                    <a:lnTo>
                      <a:pt x="70" y="776"/>
                    </a:lnTo>
                    <a:close/>
                    <a:moveTo>
                      <a:pt x="353" y="846"/>
                    </a:moveTo>
                    <a:lnTo>
                      <a:pt x="35" y="846"/>
                    </a:lnTo>
                    <a:cubicBezTo>
                      <a:pt x="16" y="846"/>
                      <a:pt x="0" y="830"/>
                      <a:pt x="0" y="811"/>
                    </a:cubicBezTo>
                    <a:lnTo>
                      <a:pt x="0" y="105"/>
                    </a:lnTo>
                    <a:cubicBezTo>
                      <a:pt x="0" y="47"/>
                      <a:pt x="47" y="0"/>
                      <a:pt x="106" y="0"/>
                    </a:cubicBezTo>
                    <a:lnTo>
                      <a:pt x="282" y="0"/>
                    </a:lnTo>
                    <a:cubicBezTo>
                      <a:pt x="340" y="0"/>
                      <a:pt x="388" y="47"/>
                      <a:pt x="388" y="105"/>
                    </a:cubicBezTo>
                    <a:lnTo>
                      <a:pt x="388" y="811"/>
                    </a:lnTo>
                    <a:cubicBezTo>
                      <a:pt x="388" y="830"/>
                      <a:pt x="372" y="846"/>
                      <a:pt x="353" y="84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8" name="Freeform 29">
                <a:extLst>
                  <a:ext uri="{FF2B5EF4-FFF2-40B4-BE49-F238E27FC236}">
                    <a16:creationId xmlns:a16="http://schemas.microsoft.com/office/drawing/2014/main" id="{6D373881-8986-2758-607A-BE42CFA967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9127" y="5065319"/>
                <a:ext cx="61313" cy="190830"/>
              </a:xfrm>
              <a:custGeom>
                <a:avLst/>
                <a:gdLst>
                  <a:gd name="T0" fmla="*/ 71 w 388"/>
                  <a:gd name="T1" fmla="*/ 1129 h 1199"/>
                  <a:gd name="T2" fmla="*/ 318 w 388"/>
                  <a:gd name="T3" fmla="*/ 1129 h 1199"/>
                  <a:gd name="T4" fmla="*/ 318 w 388"/>
                  <a:gd name="T5" fmla="*/ 106 h 1199"/>
                  <a:gd name="T6" fmla="*/ 283 w 388"/>
                  <a:gd name="T7" fmla="*/ 70 h 1199"/>
                  <a:gd name="T8" fmla="*/ 106 w 388"/>
                  <a:gd name="T9" fmla="*/ 70 h 1199"/>
                  <a:gd name="T10" fmla="*/ 71 w 388"/>
                  <a:gd name="T11" fmla="*/ 106 h 1199"/>
                  <a:gd name="T12" fmla="*/ 71 w 388"/>
                  <a:gd name="T13" fmla="*/ 1129 h 1199"/>
                  <a:gd name="T14" fmla="*/ 353 w 388"/>
                  <a:gd name="T15" fmla="*/ 1199 h 1199"/>
                  <a:gd name="T16" fmla="*/ 36 w 388"/>
                  <a:gd name="T17" fmla="*/ 1199 h 1199"/>
                  <a:gd name="T18" fmla="*/ 0 w 388"/>
                  <a:gd name="T19" fmla="*/ 1164 h 1199"/>
                  <a:gd name="T20" fmla="*/ 0 w 388"/>
                  <a:gd name="T21" fmla="*/ 106 h 1199"/>
                  <a:gd name="T22" fmla="*/ 106 w 388"/>
                  <a:gd name="T23" fmla="*/ 0 h 1199"/>
                  <a:gd name="T24" fmla="*/ 283 w 388"/>
                  <a:gd name="T25" fmla="*/ 0 h 1199"/>
                  <a:gd name="T26" fmla="*/ 388 w 388"/>
                  <a:gd name="T27" fmla="*/ 106 h 1199"/>
                  <a:gd name="T28" fmla="*/ 388 w 388"/>
                  <a:gd name="T29" fmla="*/ 1164 h 1199"/>
                  <a:gd name="T30" fmla="*/ 353 w 388"/>
                  <a:gd name="T31" fmla="*/ 1199 h 1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8" h="1199">
                    <a:moveTo>
                      <a:pt x="71" y="1129"/>
                    </a:moveTo>
                    <a:lnTo>
                      <a:pt x="318" y="1129"/>
                    </a:lnTo>
                    <a:lnTo>
                      <a:pt x="318" y="106"/>
                    </a:lnTo>
                    <a:cubicBezTo>
                      <a:pt x="318" y="86"/>
                      <a:pt x="302" y="70"/>
                      <a:pt x="283" y="70"/>
                    </a:cubicBezTo>
                    <a:lnTo>
                      <a:pt x="106" y="70"/>
                    </a:lnTo>
                    <a:cubicBezTo>
                      <a:pt x="87" y="70"/>
                      <a:pt x="71" y="86"/>
                      <a:pt x="71" y="106"/>
                    </a:cubicBezTo>
                    <a:lnTo>
                      <a:pt x="71" y="1129"/>
                    </a:lnTo>
                    <a:close/>
                    <a:moveTo>
                      <a:pt x="353" y="1199"/>
                    </a:moveTo>
                    <a:lnTo>
                      <a:pt x="36" y="1199"/>
                    </a:lnTo>
                    <a:cubicBezTo>
                      <a:pt x="16" y="1199"/>
                      <a:pt x="0" y="1183"/>
                      <a:pt x="0" y="1164"/>
                    </a:cubicBezTo>
                    <a:lnTo>
                      <a:pt x="0" y="106"/>
                    </a:lnTo>
                    <a:cubicBezTo>
                      <a:pt x="0" y="47"/>
                      <a:pt x="48" y="0"/>
                      <a:pt x="106" y="0"/>
                    </a:cubicBezTo>
                    <a:lnTo>
                      <a:pt x="283" y="0"/>
                    </a:lnTo>
                    <a:cubicBezTo>
                      <a:pt x="341" y="0"/>
                      <a:pt x="388" y="47"/>
                      <a:pt x="388" y="106"/>
                    </a:cubicBezTo>
                    <a:lnTo>
                      <a:pt x="388" y="1164"/>
                    </a:lnTo>
                    <a:cubicBezTo>
                      <a:pt x="388" y="1183"/>
                      <a:pt x="373" y="1199"/>
                      <a:pt x="353" y="1199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9" name="Freeform 30">
                <a:extLst>
                  <a:ext uri="{FF2B5EF4-FFF2-40B4-BE49-F238E27FC236}">
                    <a16:creationId xmlns:a16="http://schemas.microsoft.com/office/drawing/2014/main" id="{E9885132-1933-D57F-89AF-78C62370C4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8836" y="5177613"/>
                <a:ext cx="61313" cy="78536"/>
              </a:xfrm>
              <a:custGeom>
                <a:avLst/>
                <a:gdLst>
                  <a:gd name="T0" fmla="*/ 70 w 388"/>
                  <a:gd name="T1" fmla="*/ 424 h 494"/>
                  <a:gd name="T2" fmla="*/ 317 w 388"/>
                  <a:gd name="T3" fmla="*/ 424 h 494"/>
                  <a:gd name="T4" fmla="*/ 317 w 388"/>
                  <a:gd name="T5" fmla="*/ 106 h 494"/>
                  <a:gd name="T6" fmla="*/ 282 w 388"/>
                  <a:gd name="T7" fmla="*/ 71 h 494"/>
                  <a:gd name="T8" fmla="*/ 106 w 388"/>
                  <a:gd name="T9" fmla="*/ 71 h 494"/>
                  <a:gd name="T10" fmla="*/ 70 w 388"/>
                  <a:gd name="T11" fmla="*/ 106 h 494"/>
                  <a:gd name="T12" fmla="*/ 70 w 388"/>
                  <a:gd name="T13" fmla="*/ 424 h 494"/>
                  <a:gd name="T14" fmla="*/ 353 w 388"/>
                  <a:gd name="T15" fmla="*/ 494 h 494"/>
                  <a:gd name="T16" fmla="*/ 35 w 388"/>
                  <a:gd name="T17" fmla="*/ 494 h 494"/>
                  <a:gd name="T18" fmla="*/ 0 w 388"/>
                  <a:gd name="T19" fmla="*/ 459 h 494"/>
                  <a:gd name="T20" fmla="*/ 0 w 388"/>
                  <a:gd name="T21" fmla="*/ 106 h 494"/>
                  <a:gd name="T22" fmla="*/ 106 w 388"/>
                  <a:gd name="T23" fmla="*/ 0 h 494"/>
                  <a:gd name="T24" fmla="*/ 282 w 388"/>
                  <a:gd name="T25" fmla="*/ 0 h 494"/>
                  <a:gd name="T26" fmla="*/ 388 w 388"/>
                  <a:gd name="T27" fmla="*/ 106 h 494"/>
                  <a:gd name="T28" fmla="*/ 388 w 388"/>
                  <a:gd name="T29" fmla="*/ 459 h 494"/>
                  <a:gd name="T30" fmla="*/ 353 w 388"/>
                  <a:gd name="T31" fmla="*/ 494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8" h="494">
                    <a:moveTo>
                      <a:pt x="70" y="424"/>
                    </a:moveTo>
                    <a:lnTo>
                      <a:pt x="317" y="424"/>
                    </a:lnTo>
                    <a:lnTo>
                      <a:pt x="317" y="106"/>
                    </a:lnTo>
                    <a:cubicBezTo>
                      <a:pt x="317" y="87"/>
                      <a:pt x="302" y="71"/>
                      <a:pt x="282" y="71"/>
                    </a:cubicBezTo>
                    <a:lnTo>
                      <a:pt x="106" y="71"/>
                    </a:lnTo>
                    <a:cubicBezTo>
                      <a:pt x="86" y="71"/>
                      <a:pt x="70" y="87"/>
                      <a:pt x="70" y="106"/>
                    </a:cubicBezTo>
                    <a:lnTo>
                      <a:pt x="70" y="424"/>
                    </a:lnTo>
                    <a:close/>
                    <a:moveTo>
                      <a:pt x="353" y="494"/>
                    </a:moveTo>
                    <a:lnTo>
                      <a:pt x="35" y="494"/>
                    </a:lnTo>
                    <a:cubicBezTo>
                      <a:pt x="16" y="494"/>
                      <a:pt x="0" y="478"/>
                      <a:pt x="0" y="459"/>
                    </a:cubicBezTo>
                    <a:lnTo>
                      <a:pt x="0" y="106"/>
                    </a:lnTo>
                    <a:cubicBezTo>
                      <a:pt x="0" y="48"/>
                      <a:pt x="47" y="0"/>
                      <a:pt x="106" y="0"/>
                    </a:cubicBezTo>
                    <a:lnTo>
                      <a:pt x="282" y="0"/>
                    </a:lnTo>
                    <a:cubicBezTo>
                      <a:pt x="340" y="0"/>
                      <a:pt x="388" y="48"/>
                      <a:pt x="388" y="106"/>
                    </a:cubicBezTo>
                    <a:lnTo>
                      <a:pt x="388" y="459"/>
                    </a:lnTo>
                    <a:cubicBezTo>
                      <a:pt x="388" y="478"/>
                      <a:pt x="372" y="494"/>
                      <a:pt x="353" y="49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20" name="Freeform 31">
                <a:extLst>
                  <a:ext uri="{FF2B5EF4-FFF2-40B4-BE49-F238E27FC236}">
                    <a16:creationId xmlns:a16="http://schemas.microsoft.com/office/drawing/2014/main" id="{E96E3038-A315-82FE-AE75-2FAEC8043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300" y="5245126"/>
                <a:ext cx="100582" cy="11023"/>
              </a:xfrm>
              <a:custGeom>
                <a:avLst/>
                <a:gdLst>
                  <a:gd name="T0" fmla="*/ 600 w 635"/>
                  <a:gd name="T1" fmla="*/ 70 h 70"/>
                  <a:gd name="T2" fmla="*/ 35 w 635"/>
                  <a:gd name="T3" fmla="*/ 70 h 70"/>
                  <a:gd name="T4" fmla="*/ 0 w 635"/>
                  <a:gd name="T5" fmla="*/ 35 h 70"/>
                  <a:gd name="T6" fmla="*/ 35 w 635"/>
                  <a:gd name="T7" fmla="*/ 0 h 70"/>
                  <a:gd name="T8" fmla="*/ 600 w 635"/>
                  <a:gd name="T9" fmla="*/ 0 h 70"/>
                  <a:gd name="T10" fmla="*/ 635 w 635"/>
                  <a:gd name="T11" fmla="*/ 35 h 70"/>
                  <a:gd name="T12" fmla="*/ 600 w 635"/>
                  <a:gd name="T1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5" h="70">
                    <a:moveTo>
                      <a:pt x="600" y="70"/>
                    </a:moveTo>
                    <a:lnTo>
                      <a:pt x="35" y="70"/>
                    </a:lnTo>
                    <a:cubicBezTo>
                      <a:pt x="16" y="70"/>
                      <a:pt x="0" y="54"/>
                      <a:pt x="0" y="35"/>
                    </a:cubicBezTo>
                    <a:cubicBezTo>
                      <a:pt x="0" y="16"/>
                      <a:pt x="16" y="0"/>
                      <a:pt x="35" y="0"/>
                    </a:cubicBezTo>
                    <a:lnTo>
                      <a:pt x="600" y="0"/>
                    </a:lnTo>
                    <a:cubicBezTo>
                      <a:pt x="619" y="0"/>
                      <a:pt x="635" y="16"/>
                      <a:pt x="635" y="35"/>
                    </a:cubicBezTo>
                    <a:cubicBezTo>
                      <a:pt x="635" y="54"/>
                      <a:pt x="619" y="70"/>
                      <a:pt x="600" y="7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121" name="Content Placeholder 2">
              <a:extLst>
                <a:ext uri="{FF2B5EF4-FFF2-40B4-BE49-F238E27FC236}">
                  <a16:creationId xmlns:a16="http://schemas.microsoft.com/office/drawing/2014/main" id="{EF9C00E8-D417-08E8-F8F2-47EA7D5A06A1}"/>
                </a:ext>
              </a:extLst>
            </p:cNvPr>
            <p:cNvSpPr txBox="1">
              <a:spLocks/>
            </p:cNvSpPr>
            <p:nvPr/>
          </p:nvSpPr>
          <p:spPr>
            <a:xfrm>
              <a:off x="4285784" y="6113782"/>
              <a:ext cx="3312000" cy="390407"/>
            </a:xfrm>
            <a:prstGeom prst="rect">
              <a:avLst/>
            </a:prstGeom>
            <a:ln>
              <a:noFill/>
            </a:ln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992"/>
                </a:spcBef>
                <a:spcAft>
                  <a:spcPts val="992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66700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2730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6450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49"/>
                </a:spcAft>
                <a:buClr>
                  <a:schemeClr val="tx2"/>
                </a:buClr>
                <a:buSzPct val="85000"/>
                <a:buFont typeface="Wingdings" panose="05000000000000000000" pitchFamily="2" charset="2"/>
                <a:buChar char="n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00" dirty="0">
                  <a:solidFill>
                    <a:schemeClr val="accent1"/>
                  </a:solidFill>
                </a:rPr>
                <a:t>Operational Performance</a:t>
              </a:r>
              <a:endParaRPr lang="en-GB" sz="1400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73791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0DDFD-4C0E-CA2D-EF1A-9F8BDBB4F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C7D53C-4F62-4D65-B24C-68996C5D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Analysis Scoping question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CC3DC50-82E7-4EA2-57D0-F6F2DE68A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3538236"/>
              </p:ext>
            </p:extLst>
          </p:nvPr>
        </p:nvGraphicFramePr>
        <p:xfrm>
          <a:off x="713740" y="1219200"/>
          <a:ext cx="10830560" cy="509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7649">
                  <a:extLst>
                    <a:ext uri="{9D8B030D-6E8A-4147-A177-3AD203B41FA5}">
                      <a16:colId xmlns:a16="http://schemas.microsoft.com/office/drawing/2014/main" val="1971087550"/>
                    </a:ext>
                  </a:extLst>
                </a:gridCol>
                <a:gridCol w="7492911">
                  <a:extLst>
                    <a:ext uri="{9D8B030D-6E8A-4147-A177-3AD203B41FA5}">
                      <a16:colId xmlns:a16="http://schemas.microsoft.com/office/drawing/2014/main" val="14185629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RM 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099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/>
                        <a:t>What infrastructure and non-infrastructure options exist for reducing emissions from the gas system? </a:t>
                      </a: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R"/>
                      </a:pPr>
                      <a:r>
                        <a:rPr lang="en-US" sz="1600" dirty="0"/>
                        <a:t>Which have been explored in previous and current studies and which have not? </a:t>
                      </a: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R"/>
                      </a:pPr>
                      <a:r>
                        <a:rPr lang="en-US" sz="1600" dirty="0"/>
                        <a:t>What updates to the examinations in previous studies, including key assumptions, should be updated and/or considered for sensitivity testing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he main infrastructure and non-infrastructure options have been explored in previous studies, esp. the </a:t>
                      </a:r>
                      <a:r>
                        <a:rPr lang="en-US" sz="1600" dirty="0">
                          <a:hlinkClick r:id="rId3"/>
                        </a:rPr>
                        <a:t>2020 Heating Sector Transformation report </a:t>
                      </a:r>
                      <a:r>
                        <a:rPr lang="en-US" sz="1600" dirty="0"/>
                        <a:t>for single-family homes. For multi-family and commercial buildings, options are most clearly laid out in the </a:t>
                      </a:r>
                      <a:r>
                        <a:rPr lang="en-US" sz="1600" dirty="0">
                          <a:hlinkClick r:id="rId4"/>
                        </a:rPr>
                        <a:t>2021 Carbon Neutral NYC report</a:t>
                      </a:r>
                      <a:r>
                        <a:rPr lang="en-US" sz="1600" dirty="0"/>
                        <a:t> and in the </a:t>
                      </a:r>
                      <a:r>
                        <a:rPr lang="en-US" sz="1600" dirty="0">
                          <a:hlinkClick r:id="rId5"/>
                        </a:rPr>
                        <a:t>2021 Resource Efficient Electrification approach</a:t>
                      </a:r>
                      <a:r>
                        <a:rPr lang="en-US" sz="1600" dirty="0"/>
                        <a:t>.</a:t>
                      </a:r>
                    </a:p>
                    <a:p>
                      <a:endParaRPr lang="en-US" sz="1600" dirty="0"/>
                    </a:p>
                    <a:p>
                      <a:r>
                        <a:rPr lang="en-US" sz="1600" dirty="0"/>
                        <a:t>Updates to these studies should include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i="1" dirty="0"/>
                        <a:t>Costs: </a:t>
                      </a:r>
                      <a:r>
                        <a:rPr lang="en-US" sz="1600" dirty="0"/>
                        <a:t>Base year re-baselined to 2022 RI actuals whenever practicable; Forecasts updated to reflect federal tax incentives (e.g. Inflation Reduction Act); Gas price sensitivities including higher volatility; actual costs from Eversource Massachusetts </a:t>
                      </a:r>
                      <a:r>
                        <a:rPr lang="en-US" sz="1600" dirty="0">
                          <a:hlinkClick r:id="rId6"/>
                        </a:rPr>
                        <a:t>networked geothermal pilot</a:t>
                      </a:r>
                      <a:endParaRPr lang="en-US" sz="1600" dirty="0"/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i="1" dirty="0"/>
                        <a:t>Performance:</a:t>
                      </a:r>
                      <a:r>
                        <a:rPr lang="en-US" sz="1600" dirty="0"/>
                        <a:t> Metered field data to validate heat pump performanc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600" dirty="0"/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600" dirty="0"/>
                        <a:t>Options that were not explored in previous studies that should be considered include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/>
                        <a:t>Multi-family geothermal networks, e.g. </a:t>
                      </a:r>
                      <a:r>
                        <a:rPr lang="en-US" sz="1600" dirty="0">
                          <a:hlinkClick r:id="rId7"/>
                        </a:rPr>
                        <a:t>Enfield Council</a:t>
                      </a:r>
                      <a:r>
                        <a:rPr lang="en-US" sz="1600" dirty="0"/>
                        <a:t>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/>
                        <a:t>Distributed methane leak monitoring (e.g. as an alternative to pipe replacement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/>
                        <a:t>Robotic pipe repair, e.g. ARPA-E </a:t>
                      </a:r>
                      <a:r>
                        <a:rPr lang="en-US" sz="1600" dirty="0">
                          <a:hlinkClick r:id="rId8"/>
                        </a:rPr>
                        <a:t>REPAIR</a:t>
                      </a:r>
                      <a:r>
                        <a:rPr lang="en-US" sz="1600" dirty="0"/>
                        <a:t> progra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3627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265242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0DDFD-4C0E-CA2D-EF1A-9F8BDBB4F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C7D53C-4F62-4D65-B24C-68996C5D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Analysis Scoping question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CC3DC50-82E7-4EA2-57D0-F6F2DE68A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973104"/>
              </p:ext>
            </p:extLst>
          </p:nvPr>
        </p:nvGraphicFramePr>
        <p:xfrm>
          <a:off x="713740" y="1219200"/>
          <a:ext cx="10830560" cy="4942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7649">
                  <a:extLst>
                    <a:ext uri="{9D8B030D-6E8A-4147-A177-3AD203B41FA5}">
                      <a16:colId xmlns:a16="http://schemas.microsoft.com/office/drawing/2014/main" val="1971087550"/>
                    </a:ext>
                  </a:extLst>
                </a:gridCol>
                <a:gridCol w="7492911">
                  <a:extLst>
                    <a:ext uri="{9D8B030D-6E8A-4147-A177-3AD203B41FA5}">
                      <a16:colId xmlns:a16="http://schemas.microsoft.com/office/drawing/2014/main" val="14185629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RM 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099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dirty="0"/>
                        <a:t>What scenarios for (all) sector-level emissions will allow the state to meet the emissions reduction mandates of the Act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ports that provide scenario frameworks for meeting the Act include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The 2019 Gridworks “</a:t>
                      </a:r>
                      <a:r>
                        <a:rPr lang="en-US" sz="1600" dirty="0">
                          <a:hlinkClick r:id="rId3"/>
                        </a:rPr>
                        <a:t>California’s Gas System in Transition</a:t>
                      </a:r>
                      <a:r>
                        <a:rPr lang="en-US" sz="1600" dirty="0"/>
                        <a:t>” stud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The </a:t>
                      </a:r>
                      <a:r>
                        <a:rPr lang="en-US" sz="1600" dirty="0">
                          <a:hlinkClick r:id="rId4"/>
                        </a:rPr>
                        <a:t>2020 Heating Sector Transformation report </a:t>
                      </a:r>
                      <a:endParaRPr lang="en-US" sz="160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The </a:t>
                      </a:r>
                      <a:r>
                        <a:rPr lang="en-US" sz="1600" dirty="0">
                          <a:hlinkClick r:id="rId5"/>
                        </a:rPr>
                        <a:t>2021 Carbon Neutral NYC report</a:t>
                      </a:r>
                      <a:r>
                        <a:rPr lang="en-US" sz="1600" dirty="0"/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The 2022 Massachusetts DPU 20-80 </a:t>
                      </a:r>
                      <a:r>
                        <a:rPr lang="en-US" sz="1600" dirty="0">
                          <a:hlinkClick r:id="rId6"/>
                        </a:rPr>
                        <a:t>Independent Consultant Report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7811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r>
                        <a:rPr lang="en-US" sz="1600" dirty="0"/>
                        <a:t>What is the appropriate baseline for the economy and for the gas system? </a:t>
                      </a: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r>
                        <a:rPr lang="en-US" sz="1600" dirty="0"/>
                        <a:t>In terms of different timing and extent of emissions reductions, what is the implication of these scenarios on the gas system? </a:t>
                      </a: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r>
                        <a:rPr lang="en-US" sz="1600" dirty="0"/>
                        <a:t>Does the feasibility of options for reducing gas system emissions change between these differences in timing and extent in these scenarios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Both"/>
                        <a:tabLst/>
                        <a:defRPr/>
                      </a:pPr>
                      <a:r>
                        <a:rPr lang="en-US" sz="1600" dirty="0"/>
                        <a:t>The appropriate baseline for the economy reflects all new federal subsidies in formulating the new business-as-usual forecasts across the main sectors of power, transportation, and buildings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Both"/>
                        <a:tabLst/>
                        <a:defRPr/>
                      </a:pPr>
                      <a:r>
                        <a:rPr lang="en-US" sz="1600" dirty="0"/>
                        <a:t>The speed and scale of reduction pathways impact the gas networks in the key areas of </a:t>
                      </a:r>
                      <a:r>
                        <a:rPr lang="en-US" sz="1600" i="1" dirty="0"/>
                        <a:t>network size, leak rate, material composition, labor force requirements, customer economics, property tax payments, </a:t>
                      </a:r>
                      <a:r>
                        <a:rPr lang="en-US" sz="1600" i="0" dirty="0"/>
                        <a:t>and</a:t>
                      </a:r>
                      <a:r>
                        <a:rPr lang="en-US" sz="1600" i="1" dirty="0"/>
                        <a:t> shareholder value</a:t>
                      </a:r>
                      <a:r>
                        <a:rPr lang="en-US" sz="1600" dirty="0"/>
                        <a:t>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Both"/>
                        <a:tabLst/>
                        <a:defRPr/>
                      </a:pPr>
                      <a:r>
                        <a:rPr lang="en-US" sz="1600" dirty="0"/>
                        <a:t>Yes. Feasibility is most acutely impactful in the areas of </a:t>
                      </a:r>
                      <a:r>
                        <a:rPr lang="en-US" sz="1600" i="1" dirty="0"/>
                        <a:t>strategic decommissioning</a:t>
                      </a:r>
                      <a:r>
                        <a:rPr lang="en-US" sz="1600" dirty="0"/>
                        <a:t>, </a:t>
                      </a:r>
                      <a:r>
                        <a:rPr lang="en-US" sz="1600" i="1" dirty="0"/>
                        <a:t>customer economics, RNG supply, </a:t>
                      </a:r>
                      <a:r>
                        <a:rPr lang="en-US" sz="1600" i="0" dirty="0"/>
                        <a:t>and </a:t>
                      </a:r>
                      <a:r>
                        <a:rPr lang="en-US" sz="1600" i="1" dirty="0"/>
                        <a:t>electricity supply and delivery.</a:t>
                      </a:r>
                      <a:r>
                        <a:rPr lang="en-US" sz="1600" i="0" dirty="0"/>
                        <a:t> </a:t>
                      </a:r>
                      <a:endParaRPr lang="en-US" sz="1600" i="1" dirty="0"/>
                    </a:p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5112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489671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0DDFD-4C0E-CA2D-EF1A-9F8BDBB4F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C7D53C-4F62-4D65-B24C-68996C5D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Analysis Scoping question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CC3DC50-82E7-4EA2-57D0-F6F2DE68A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198764"/>
              </p:ext>
            </p:extLst>
          </p:nvPr>
        </p:nvGraphicFramePr>
        <p:xfrm>
          <a:off x="713740" y="1219200"/>
          <a:ext cx="10830560" cy="445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7649">
                  <a:extLst>
                    <a:ext uri="{9D8B030D-6E8A-4147-A177-3AD203B41FA5}">
                      <a16:colId xmlns:a16="http://schemas.microsoft.com/office/drawing/2014/main" val="1971087550"/>
                    </a:ext>
                  </a:extLst>
                </a:gridCol>
                <a:gridCol w="7492911">
                  <a:extLst>
                    <a:ext uri="{9D8B030D-6E8A-4147-A177-3AD203B41FA5}">
                      <a16:colId xmlns:a16="http://schemas.microsoft.com/office/drawing/2014/main" val="14185629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RM 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099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1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What assumptions and inputs are critical to the outputs of the Technical Analysis?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Key assumptions and inputs includ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EE and heat pump cost and performance (annual and peak) across the Rhode Island building taxonomy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RNG and H2 cost and deliverability for all hours of the yea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Natural gas cost volatil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arbon-free electricity cost and performance (esp. winter peak coincidenc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urrent and forecast cost of pipe repair and replac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ipe leak rate forecasts by material and loca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7811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r>
                        <a:rPr lang="en-US" sz="1600" dirty="0"/>
                        <a:t>Does current knowledge about these assumptions warrant testing alternative assumptions? </a:t>
                      </a:r>
                    </a:p>
                    <a:p>
                      <a:pPr marL="342900" marR="0" lvl="1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AutoNum type="alphaLcParenBoth"/>
                      </a:pPr>
                      <a:r>
                        <a:rPr lang="en-US" sz="1600" dirty="0"/>
                        <a:t>Does current knowledge about these inputs warrant performing sensitivity analyses?</a:t>
                      </a:r>
                      <a:endParaRPr lang="en-US" sz="16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lphaLcParenBoth"/>
                        <a:tabLst/>
                        <a:defRPr/>
                      </a:pPr>
                      <a:r>
                        <a:rPr lang="en-US" sz="1600" dirty="0"/>
                        <a:t>Yes. Enough is known about each of these to justify testing alternative assumptions.</a:t>
                      </a:r>
                      <a:endParaRPr lang="en-US" sz="1600" i="1" dirty="0"/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  <a:p>
                      <a:endParaRPr lang="en-US" sz="16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(b) Yes. Enough is known about each of these to justify sensitivity analyses.</a:t>
                      </a:r>
                      <a:endParaRPr lang="en-US" sz="1600" i="1" dirty="0"/>
                    </a:p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85112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62093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0DDFD-4C0E-CA2D-EF1A-9F8BDBB4F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2063C-9A34-41FE-BD41-DD9A793D09C1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C7D53C-4F62-4D65-B24C-68996C5D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ical Analysis Scoping question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CC3DC50-82E7-4EA2-57D0-F6F2DE68A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598893"/>
              </p:ext>
            </p:extLst>
          </p:nvPr>
        </p:nvGraphicFramePr>
        <p:xfrm>
          <a:off x="700951" y="1219200"/>
          <a:ext cx="10830560" cy="533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0849">
                  <a:extLst>
                    <a:ext uri="{9D8B030D-6E8A-4147-A177-3AD203B41FA5}">
                      <a16:colId xmlns:a16="http://schemas.microsoft.com/office/drawing/2014/main" val="1971087550"/>
                    </a:ext>
                  </a:extLst>
                </a:gridCol>
                <a:gridCol w="8559711">
                  <a:extLst>
                    <a:ext uri="{9D8B030D-6E8A-4147-A177-3AD203B41FA5}">
                      <a16:colId xmlns:a16="http://schemas.microsoft.com/office/drawing/2014/main" val="14185629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RM 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099170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What mechanisms could be created that would enable decreased emissions from the gas system consistent with the Act?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Rhode Island’s emissions goals will benefit from a coordinated suite of mechanisms that ensure equitable access to high-quality energy, practical solutions that can scale rapidly, and appropriate incentives for utility investmen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dirty="0"/>
                        <a:t>An example of such a coordinated suite </a:t>
                      </a:r>
                      <a:r>
                        <a:rPr lang="en-US" sz="1600" b="0" dirty="0" err="1"/>
                        <a:t>enactable</a:t>
                      </a:r>
                      <a:r>
                        <a:rPr lang="en-US" sz="1600" b="0" dirty="0"/>
                        <a:t> by the PUC would include: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US" sz="1600" b="0" dirty="0"/>
                        <a:t>Definition of </a:t>
                      </a:r>
                      <a:r>
                        <a:rPr lang="en-US" sz="1600" b="1" dirty="0"/>
                        <a:t>Comparable Substitute Service</a:t>
                      </a:r>
                      <a:r>
                        <a:rPr lang="en-US" sz="1600" b="0" dirty="0"/>
                        <a:t> (CSS) that clarifies the minimum threshold of performance benchmarked against the cost, convenience, and reliability of gas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US" sz="1600" b="0" dirty="0"/>
                        <a:t>Development of a </a:t>
                      </a:r>
                      <a:r>
                        <a:rPr lang="en-US" sz="1600" b="1" dirty="0"/>
                        <a:t>Unified Benefit-Cost Analysis (BCA) framework</a:t>
                      </a:r>
                      <a:r>
                        <a:rPr lang="en-US" sz="1600" b="0" dirty="0"/>
                        <a:t> for network planning that ensures that RIE is transparently evaluating electric, gas, </a:t>
                      </a:r>
                      <a:r>
                        <a:rPr lang="en-US" sz="1600" b="0" i="0" u="sng" dirty="0"/>
                        <a:t>and building</a:t>
                      </a:r>
                      <a:r>
                        <a:rPr lang="en-US" sz="1600" b="0" i="0" u="none" dirty="0"/>
                        <a:t> options for Comparable Substitute Service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e </a:t>
                      </a:r>
                      <a:r>
                        <a:rPr lang="en-US" sz="16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k-prone pipe segment suitability scoring</a:t>
                      </a:r>
                      <a:r>
                        <a:rPr lang="en-US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at ensures that RIE is regularly and transparently evaluating pending network replacement segments for Comparable Substitute Service solutions using the using the Unified BCA framework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e the provision of </a:t>
                      </a:r>
                      <a:r>
                        <a:rPr lang="en-US" sz="16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lic information tools</a:t>
                      </a:r>
                      <a:r>
                        <a:rPr lang="en-US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e.g. geospatial maps) that present Unified BCA results and leak-prone pipe segment suitability scores to enable zero-carbon project development and stakeholder engagement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endParaRPr lang="en-US" sz="16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establishment of such a suite would be foundational for the specific actions at issue in this proceeding, e.g.:</a:t>
                      </a:r>
                      <a:r>
                        <a:rPr lang="en-US" sz="1600" i="0" dirty="0"/>
                        <a:t> moratoria, alternative ratemaking, approval of recovery for alternative technologies, changes to depreciation schedules, and network abandonment.</a:t>
                      </a:r>
                      <a:endParaRPr lang="en-US" sz="1600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69392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932610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BEA751F-33A8-2349-87C7-8D817E8C1F5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2000" cy="4140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4E1E4A1-8C59-3B05-407A-B805A3A2B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AD62CE-5C13-ECFC-2E03-6104A83E04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/>
              <a:t>Mackay Miller</a:t>
            </a:r>
          </a:p>
          <a:p>
            <a:r>
              <a:rPr lang="en-US"/>
              <a:t>Partner</a:t>
            </a:r>
          </a:p>
          <a:p>
            <a:r>
              <a:rPr lang="en-US">
                <a:hlinkClick r:id="rId3"/>
              </a:rPr>
              <a:t>Mackay.Miller@erm.com</a:t>
            </a:r>
            <a:r>
              <a:rPr lang="en-US"/>
              <a:t> </a:t>
            </a:r>
          </a:p>
          <a:p>
            <a:r>
              <a:rPr lang="en-US"/>
              <a:t>+1 774 893 1877</a:t>
            </a:r>
          </a:p>
          <a:p>
            <a:r>
              <a:rPr lang="en-US"/>
              <a:t>Boston, MA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3DB39BE-1780-8DD6-3B4B-2E70C5F712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EC49DD06-2147-3550-8ED9-88D55FCF14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1AF7646-0734-FF2D-B4A8-40A06C695A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31998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. Title/closing slides">
  <a:themeElements>
    <a:clrScheme name="Custom 1">
      <a:dk1>
        <a:srgbClr val="000000"/>
      </a:dk1>
      <a:lt1>
        <a:srgbClr val="FFFFFF"/>
      </a:lt1>
      <a:dk2>
        <a:srgbClr val="00795F"/>
      </a:dk2>
      <a:lt2>
        <a:srgbClr val="666D71"/>
      </a:lt2>
      <a:accent1>
        <a:srgbClr val="003361"/>
      </a:accent1>
      <a:accent2>
        <a:srgbClr val="D28600"/>
      </a:accent2>
      <a:accent3>
        <a:srgbClr val="6983B2"/>
      </a:accent3>
      <a:accent4>
        <a:srgbClr val="C30042"/>
      </a:accent4>
      <a:accent5>
        <a:srgbClr val="008DD6"/>
      </a:accent5>
      <a:accent6>
        <a:srgbClr val="B1A700"/>
      </a:accent6>
      <a:hlink>
        <a:srgbClr val="00795E"/>
      </a:hlink>
      <a:folHlink>
        <a:srgbClr val="666D71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405A5C66-CF77-4F9C-822A-E8F56FB4E1A1}"/>
    </a:ext>
  </a:extLst>
</a:theme>
</file>

<file path=ppt/theme/theme2.xml><?xml version="1.0" encoding="utf-8"?>
<a:theme xmlns:a="http://schemas.openxmlformats.org/drawingml/2006/main" name="2. Standard slides">
  <a:themeElements>
    <a:clrScheme name="Custom 1">
      <a:dk1>
        <a:srgbClr val="000000"/>
      </a:dk1>
      <a:lt1>
        <a:srgbClr val="FFFFFF"/>
      </a:lt1>
      <a:dk2>
        <a:srgbClr val="00795F"/>
      </a:dk2>
      <a:lt2>
        <a:srgbClr val="666D71"/>
      </a:lt2>
      <a:accent1>
        <a:srgbClr val="003361"/>
      </a:accent1>
      <a:accent2>
        <a:srgbClr val="D28600"/>
      </a:accent2>
      <a:accent3>
        <a:srgbClr val="6983B2"/>
      </a:accent3>
      <a:accent4>
        <a:srgbClr val="C30042"/>
      </a:accent4>
      <a:accent5>
        <a:srgbClr val="008DD6"/>
      </a:accent5>
      <a:accent6>
        <a:srgbClr val="B1A700"/>
      </a:accent6>
      <a:hlink>
        <a:srgbClr val="00795E"/>
      </a:hlink>
      <a:folHlink>
        <a:srgbClr val="666D71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45720" tIns="45720" rIns="45720" bIns="4572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F89303CC-19D7-4A6C-A593-EBCBC5281A4E}"/>
    </a:ext>
  </a:extLst>
</a:theme>
</file>

<file path=ppt/theme/theme3.xml><?xml version="1.0" encoding="utf-8"?>
<a:theme xmlns:a="http://schemas.openxmlformats.org/drawingml/2006/main" name="3. Specialty slides">
  <a:themeElements>
    <a:clrScheme name="ERM">
      <a:dk1>
        <a:srgbClr val="000000"/>
      </a:dk1>
      <a:lt1>
        <a:srgbClr val="FFFFFF"/>
      </a:lt1>
      <a:dk2>
        <a:srgbClr val="00795F"/>
      </a:dk2>
      <a:lt2>
        <a:srgbClr val="B1A800"/>
      </a:lt2>
      <a:accent1>
        <a:srgbClr val="003361"/>
      </a:accent1>
      <a:accent2>
        <a:srgbClr val="008DD6"/>
      </a:accent2>
      <a:accent3>
        <a:srgbClr val="6983B2"/>
      </a:accent3>
      <a:accent4>
        <a:srgbClr val="666F74"/>
      </a:accent4>
      <a:accent5>
        <a:srgbClr val="C30043"/>
      </a:accent5>
      <a:accent6>
        <a:srgbClr val="D28700"/>
      </a:accent6>
      <a:hlink>
        <a:srgbClr val="0563C1"/>
      </a:hlink>
      <a:folHlink>
        <a:srgbClr val="954F72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789A7F2D-9496-4AEA-9110-F6F0D72A4866}"/>
    </a:ext>
  </a:extLst>
</a:theme>
</file>

<file path=ppt/theme/theme4.xml><?xml version="1.0" encoding="utf-8"?>
<a:theme xmlns:a="http://schemas.openxmlformats.org/drawingml/2006/main" name="4. Section headers">
  <a:themeElements>
    <a:clrScheme name="ERM">
      <a:dk1>
        <a:srgbClr val="000000"/>
      </a:dk1>
      <a:lt1>
        <a:srgbClr val="FFFFFF"/>
      </a:lt1>
      <a:dk2>
        <a:srgbClr val="00795F"/>
      </a:dk2>
      <a:lt2>
        <a:srgbClr val="B1A800"/>
      </a:lt2>
      <a:accent1>
        <a:srgbClr val="003361"/>
      </a:accent1>
      <a:accent2>
        <a:srgbClr val="008DD6"/>
      </a:accent2>
      <a:accent3>
        <a:srgbClr val="6983B2"/>
      </a:accent3>
      <a:accent4>
        <a:srgbClr val="666F74"/>
      </a:accent4>
      <a:accent5>
        <a:srgbClr val="C30043"/>
      </a:accent5>
      <a:accent6>
        <a:srgbClr val="D28700"/>
      </a:accent6>
      <a:hlink>
        <a:srgbClr val="0563C1"/>
      </a:hlink>
      <a:folHlink>
        <a:srgbClr val="954F72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342AB712-577B-42C3-91BD-CCC62349A251}"/>
    </a:ext>
  </a:extLst>
</a:theme>
</file>

<file path=ppt/theme/theme5.xml><?xml version="1.0" encoding="utf-8"?>
<a:theme xmlns:a="http://schemas.openxmlformats.org/drawingml/2006/main" name="1_2. Standard slides">
  <a:themeElements>
    <a:clrScheme name="Custom 1">
      <a:dk1>
        <a:srgbClr val="000000"/>
      </a:dk1>
      <a:lt1>
        <a:srgbClr val="FFFFFF"/>
      </a:lt1>
      <a:dk2>
        <a:srgbClr val="00795F"/>
      </a:dk2>
      <a:lt2>
        <a:srgbClr val="666D71"/>
      </a:lt2>
      <a:accent1>
        <a:srgbClr val="003361"/>
      </a:accent1>
      <a:accent2>
        <a:srgbClr val="D28600"/>
      </a:accent2>
      <a:accent3>
        <a:srgbClr val="6983B2"/>
      </a:accent3>
      <a:accent4>
        <a:srgbClr val="C30042"/>
      </a:accent4>
      <a:accent5>
        <a:srgbClr val="008DD6"/>
      </a:accent5>
      <a:accent6>
        <a:srgbClr val="B1A700"/>
      </a:accent6>
      <a:hlink>
        <a:srgbClr val="00795E"/>
      </a:hlink>
      <a:folHlink>
        <a:srgbClr val="666D71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F89303CC-19D7-4A6C-A593-EBCBC5281A4E}"/>
    </a:ext>
  </a:extLst>
</a:theme>
</file>

<file path=ppt/theme/theme6.xml><?xml version="1.0" encoding="utf-8"?>
<a:theme xmlns:a="http://schemas.openxmlformats.org/drawingml/2006/main" name="1_3. Specialty slides">
  <a:themeElements>
    <a:clrScheme name="ERM">
      <a:dk1>
        <a:srgbClr val="000000"/>
      </a:dk1>
      <a:lt1>
        <a:srgbClr val="FFFFFF"/>
      </a:lt1>
      <a:dk2>
        <a:srgbClr val="00795F"/>
      </a:dk2>
      <a:lt2>
        <a:srgbClr val="B1A800"/>
      </a:lt2>
      <a:accent1>
        <a:srgbClr val="003361"/>
      </a:accent1>
      <a:accent2>
        <a:srgbClr val="008DD6"/>
      </a:accent2>
      <a:accent3>
        <a:srgbClr val="6983B2"/>
      </a:accent3>
      <a:accent4>
        <a:srgbClr val="666F74"/>
      </a:accent4>
      <a:accent5>
        <a:srgbClr val="C30043"/>
      </a:accent5>
      <a:accent6>
        <a:srgbClr val="D28700"/>
      </a:accent6>
      <a:hlink>
        <a:srgbClr val="0563C1"/>
      </a:hlink>
      <a:folHlink>
        <a:srgbClr val="954F72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789A7F2D-9496-4AEA-9110-F6F0D72A4866}"/>
    </a:ext>
  </a:extLst>
</a:theme>
</file>

<file path=ppt/theme/theme7.xml><?xml version="1.0" encoding="utf-8"?>
<a:theme xmlns:a="http://schemas.openxmlformats.org/drawingml/2006/main" name="2_3. Specialty slides">
  <a:themeElements>
    <a:clrScheme name="ERM">
      <a:dk1>
        <a:srgbClr val="000000"/>
      </a:dk1>
      <a:lt1>
        <a:srgbClr val="FFFFFF"/>
      </a:lt1>
      <a:dk2>
        <a:srgbClr val="00795F"/>
      </a:dk2>
      <a:lt2>
        <a:srgbClr val="B1A800"/>
      </a:lt2>
      <a:accent1>
        <a:srgbClr val="003361"/>
      </a:accent1>
      <a:accent2>
        <a:srgbClr val="008DD6"/>
      </a:accent2>
      <a:accent3>
        <a:srgbClr val="6983B2"/>
      </a:accent3>
      <a:accent4>
        <a:srgbClr val="666F74"/>
      </a:accent4>
      <a:accent5>
        <a:srgbClr val="C30043"/>
      </a:accent5>
      <a:accent6>
        <a:srgbClr val="D28700"/>
      </a:accent6>
      <a:hlink>
        <a:srgbClr val="0563C1"/>
      </a:hlink>
      <a:folHlink>
        <a:srgbClr val="954F72"/>
      </a:folHlink>
    </a:clrScheme>
    <a:fontScheme name="ERM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7C7763C-610C-48A5-8CA4-D4C703CD3C51}" vid="{789A7F2D-9496-4AEA-9110-F6F0D72A486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al_Marketing_PPT_Template_12-7-22</Template>
  <TotalTime>0</TotalTime>
  <Words>1105</Words>
  <Application>Microsoft Office PowerPoint</Application>
  <PresentationFormat>Widescreen</PresentationFormat>
  <Paragraphs>93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.Hiragino Kaku Gothic Interface W3</vt:lpstr>
      <vt:lpstr>Arial</vt:lpstr>
      <vt:lpstr>Calibri</vt:lpstr>
      <vt:lpstr>Open Sans</vt:lpstr>
      <vt:lpstr>Times New Roman</vt:lpstr>
      <vt:lpstr>Wingdings</vt:lpstr>
      <vt:lpstr>1. Title/closing slides</vt:lpstr>
      <vt:lpstr>2. Standard slides</vt:lpstr>
      <vt:lpstr>3. Specialty slides</vt:lpstr>
      <vt:lpstr>4. Section headers</vt:lpstr>
      <vt:lpstr>1_2. Standard slides</vt:lpstr>
      <vt:lpstr>1_3. Specialty slides</vt:lpstr>
      <vt:lpstr>2_3. Specialty slides</vt:lpstr>
      <vt:lpstr>think-cell Slide</vt:lpstr>
      <vt:lpstr>   Abandon or Replace?   DOCKET NO. 22-01-NG  Technical Conference   The future of the regulated gas distribution business in Rhode Island in light of the Act On Climate   </vt:lpstr>
      <vt:lpstr>Speaker background</vt:lpstr>
      <vt:lpstr>Technical Analysis Scoping questions</vt:lpstr>
      <vt:lpstr>Technical Analysis Scoping questions</vt:lpstr>
      <vt:lpstr>Technical Analysis Scoping questions</vt:lpstr>
      <vt:lpstr>Technical Analysis Scoping question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2-09T00:06:51Z</dcterms:created>
  <dcterms:modified xsi:type="dcterms:W3CDTF">2023-02-09T00:07:11Z</dcterms:modified>
</cp:coreProperties>
</file>